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8"/>
  </p:notesMasterIdLst>
  <p:handoutMasterIdLst>
    <p:handoutMasterId r:id="rId69"/>
  </p:handoutMasterIdLst>
  <p:sldIdLst>
    <p:sldId id="256" r:id="rId2"/>
    <p:sldId id="310" r:id="rId3"/>
    <p:sldId id="311" r:id="rId4"/>
    <p:sldId id="312" r:id="rId5"/>
    <p:sldId id="313" r:id="rId6"/>
    <p:sldId id="314" r:id="rId7"/>
    <p:sldId id="321" r:id="rId8"/>
    <p:sldId id="315" r:id="rId9"/>
    <p:sldId id="317" r:id="rId10"/>
    <p:sldId id="318" r:id="rId11"/>
    <p:sldId id="319" r:id="rId12"/>
    <p:sldId id="320" r:id="rId13"/>
    <p:sldId id="309" r:id="rId14"/>
    <p:sldId id="322" r:id="rId15"/>
    <p:sldId id="323" r:id="rId16"/>
    <p:sldId id="4452" r:id="rId17"/>
    <p:sldId id="4453" r:id="rId18"/>
    <p:sldId id="324" r:id="rId19"/>
    <p:sldId id="325" r:id="rId20"/>
    <p:sldId id="4407" r:id="rId21"/>
    <p:sldId id="4408" r:id="rId22"/>
    <p:sldId id="4410" r:id="rId23"/>
    <p:sldId id="4411" r:id="rId24"/>
    <p:sldId id="4417" r:id="rId25"/>
    <p:sldId id="4416" r:id="rId26"/>
    <p:sldId id="4418" r:id="rId27"/>
    <p:sldId id="4419" r:id="rId28"/>
    <p:sldId id="4428" r:id="rId29"/>
    <p:sldId id="4420" r:id="rId30"/>
    <p:sldId id="4429" r:id="rId31"/>
    <p:sldId id="4421" r:id="rId32"/>
    <p:sldId id="4430" r:id="rId33"/>
    <p:sldId id="4422" r:id="rId34"/>
    <p:sldId id="4431" r:id="rId35"/>
    <p:sldId id="4423" r:id="rId36"/>
    <p:sldId id="4432" r:id="rId37"/>
    <p:sldId id="4424" r:id="rId38"/>
    <p:sldId id="4433" r:id="rId39"/>
    <p:sldId id="4425" r:id="rId40"/>
    <p:sldId id="4434" r:id="rId41"/>
    <p:sldId id="4426" r:id="rId42"/>
    <p:sldId id="4435" r:id="rId43"/>
    <p:sldId id="4436" r:id="rId44"/>
    <p:sldId id="4437" r:id="rId45"/>
    <p:sldId id="4427" r:id="rId46"/>
    <p:sldId id="4438" r:id="rId47"/>
    <p:sldId id="4439" r:id="rId48"/>
    <p:sldId id="4455" r:id="rId49"/>
    <p:sldId id="4456" r:id="rId50"/>
    <p:sldId id="4457" r:id="rId51"/>
    <p:sldId id="4458" r:id="rId52"/>
    <p:sldId id="4459" r:id="rId53"/>
    <p:sldId id="4460" r:id="rId54"/>
    <p:sldId id="4461" r:id="rId55"/>
    <p:sldId id="4462" r:id="rId56"/>
    <p:sldId id="4414" r:id="rId57"/>
    <p:sldId id="4441" r:id="rId58"/>
    <p:sldId id="4440" r:id="rId59"/>
    <p:sldId id="4443" r:id="rId60"/>
    <p:sldId id="4449" r:id="rId61"/>
    <p:sldId id="4448" r:id="rId62"/>
    <p:sldId id="4446" r:id="rId63"/>
    <p:sldId id="4450" r:id="rId64"/>
    <p:sldId id="4451" r:id="rId65"/>
    <p:sldId id="4463" r:id="rId66"/>
    <p:sldId id="4393" r:id="rId67"/>
  </p:sldIdLst>
  <p:sldSz cx="12192000" cy="6858000"/>
  <p:notesSz cx="6858000" cy="9144000"/>
  <p:custDataLst>
    <p:tags r:id="rId7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1E24"/>
    <a:srgbClr val="7983D7"/>
    <a:srgbClr val="4757B8"/>
    <a:srgbClr val="000000"/>
    <a:srgbClr val="A6ACE4"/>
    <a:srgbClr val="2F2F37"/>
    <a:srgbClr val="EBEC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443669-731A-3C45-9CF3-DA10A5CBD394}" v="1700" dt="2025-09-06T22:41:45.1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70" autoAdjust="0"/>
    <p:restoredTop sz="82123"/>
  </p:normalViewPr>
  <p:slideViewPr>
    <p:cSldViewPr snapToGrid="0" showGuides="1">
      <p:cViewPr varScale="1">
        <p:scale>
          <a:sx n="91" d="100"/>
          <a:sy n="91" d="100"/>
        </p:scale>
        <p:origin x="190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38" d="100"/>
          <a:sy n="138" d="100"/>
        </p:scale>
        <p:origin x="350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75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microsoft.com/office/2015/10/relationships/revisionInfo" Target="revisionInfo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é Alberto Sousa Torres" userId="2784cfe513e17c0c" providerId="LiveId" clId="{46443669-731A-3C45-9CF3-DA10A5CBD394}"/>
    <pc:docChg chg="undo custSel addSld delSld modSld sldOrd">
      <pc:chgData name="José Alberto Sousa Torres" userId="2784cfe513e17c0c" providerId="LiveId" clId="{46443669-731A-3C45-9CF3-DA10A5CBD394}" dt="2025-09-06T22:41:45.104" v="4993" actId="20577"/>
      <pc:docMkLst>
        <pc:docMk/>
      </pc:docMkLst>
      <pc:sldChg chg="modSp mod">
        <pc:chgData name="José Alberto Sousa Torres" userId="2784cfe513e17c0c" providerId="LiveId" clId="{46443669-731A-3C45-9CF3-DA10A5CBD394}" dt="2025-08-31T22:07:07.523" v="11" actId="20577"/>
        <pc:sldMkLst>
          <pc:docMk/>
          <pc:sldMk cId="1669609687" sldId="256"/>
        </pc:sldMkLst>
        <pc:spChg chg="mod">
          <ac:chgData name="José Alberto Sousa Torres" userId="2784cfe513e17c0c" providerId="LiveId" clId="{46443669-731A-3C45-9CF3-DA10A5CBD394}" dt="2025-08-31T22:07:07.523" v="11" actId="20577"/>
          <ac:spMkLst>
            <pc:docMk/>
            <pc:sldMk cId="1669609687" sldId="256"/>
            <ac:spMk id="4" creationId="{FFAFB9DA-6064-C3C3-5E07-BEC5D12058AB}"/>
          </ac:spMkLst>
        </pc:spChg>
      </pc:sldChg>
      <pc:sldChg chg="modSp add mod modAnim">
        <pc:chgData name="José Alberto Sousa Torres" userId="2784cfe513e17c0c" providerId="LiveId" clId="{46443669-731A-3C45-9CF3-DA10A5CBD394}" dt="2025-09-06T21:03:35.385" v="3114" actId="113"/>
        <pc:sldMkLst>
          <pc:docMk/>
          <pc:sldMk cId="774507673" sldId="309"/>
        </pc:sldMkLst>
        <pc:spChg chg="mod">
          <ac:chgData name="José Alberto Sousa Torres" userId="2784cfe513e17c0c" providerId="LiveId" clId="{46443669-731A-3C45-9CF3-DA10A5CBD394}" dt="2025-09-06T21:03:35.385" v="3114" actId="113"/>
          <ac:spMkLst>
            <pc:docMk/>
            <pc:sldMk cId="774507673" sldId="309"/>
            <ac:spMk id="3" creationId="{FD2F5BF4-C3AE-4613-B45A-72433CAA4095}"/>
          </ac:spMkLst>
        </pc:spChg>
        <pc:spChg chg="mod">
          <ac:chgData name="José Alberto Sousa Torres" userId="2784cfe513e17c0c" providerId="LiveId" clId="{46443669-731A-3C45-9CF3-DA10A5CBD394}" dt="2025-09-06T21:03:24.199" v="3084" actId="20577"/>
          <ac:spMkLst>
            <pc:docMk/>
            <pc:sldMk cId="774507673" sldId="309"/>
            <ac:spMk id="4" creationId="{6E0F0221-C562-B2C7-9161-7511CC3109A2}"/>
          </ac:spMkLst>
        </pc:sp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4269655215" sldId="309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2744438103" sldId="310"/>
        </pc:sldMkLst>
      </pc:sldChg>
      <pc:sldChg chg="addSp modSp add mod">
        <pc:chgData name="José Alberto Sousa Torres" userId="2784cfe513e17c0c" providerId="LiveId" clId="{46443669-731A-3C45-9CF3-DA10A5CBD394}" dt="2025-09-06T20:54:53.517" v="3017" actId="1076"/>
        <pc:sldMkLst>
          <pc:docMk/>
          <pc:sldMk cId="3208041148" sldId="310"/>
        </pc:sldMkLst>
        <pc:picChg chg="add mod">
          <ac:chgData name="José Alberto Sousa Torres" userId="2784cfe513e17c0c" providerId="LiveId" clId="{46443669-731A-3C45-9CF3-DA10A5CBD394}" dt="2025-09-06T20:54:53.517" v="3017" actId="1076"/>
          <ac:picMkLst>
            <pc:docMk/>
            <pc:sldMk cId="3208041148" sldId="310"/>
            <ac:picMk id="5" creationId="{D3FE4543-FC07-5172-D4CE-5E81273D5794}"/>
          </ac:picMkLst>
        </pc:picChg>
      </pc:sldChg>
      <pc:sldChg chg="modSp add mod modAnim">
        <pc:chgData name="José Alberto Sousa Torres" userId="2784cfe513e17c0c" providerId="LiveId" clId="{46443669-731A-3C45-9CF3-DA10A5CBD394}" dt="2025-09-06T20:56:49.220" v="3020" actId="113"/>
        <pc:sldMkLst>
          <pc:docMk/>
          <pc:sldMk cId="552347102" sldId="311"/>
        </pc:sldMkLst>
        <pc:spChg chg="mod">
          <ac:chgData name="José Alberto Sousa Torres" userId="2784cfe513e17c0c" providerId="LiveId" clId="{46443669-731A-3C45-9CF3-DA10A5CBD394}" dt="2025-09-06T20:56:49.220" v="3020" actId="113"/>
          <ac:spMkLst>
            <pc:docMk/>
            <pc:sldMk cId="552347102" sldId="311"/>
            <ac:spMk id="3" creationId="{470A77B9-A75C-7DA9-0170-A1AD4E729326}"/>
          </ac:spMkLst>
        </pc:sp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2568039310" sldId="311"/>
        </pc:sldMkLst>
      </pc:sldChg>
      <pc:sldChg chg="modSp add modAnim">
        <pc:chgData name="José Alberto Sousa Torres" userId="2784cfe513e17c0c" providerId="LiveId" clId="{46443669-731A-3C45-9CF3-DA10A5CBD394}" dt="2025-09-06T20:58:33.787" v="3029" actId="20577"/>
        <pc:sldMkLst>
          <pc:docMk/>
          <pc:sldMk cId="383067297" sldId="312"/>
        </pc:sldMkLst>
        <pc:spChg chg="mod">
          <ac:chgData name="José Alberto Sousa Torres" userId="2784cfe513e17c0c" providerId="LiveId" clId="{46443669-731A-3C45-9CF3-DA10A5CBD394}" dt="2025-09-06T20:58:33.787" v="3029" actId="20577"/>
          <ac:spMkLst>
            <pc:docMk/>
            <pc:sldMk cId="383067297" sldId="312"/>
            <ac:spMk id="7" creationId="{AF09EDC2-19FB-091C-5F61-73C8D753C033}"/>
          </ac:spMkLst>
        </pc:sp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692706266" sldId="312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1439326772" sldId="313"/>
        </pc:sldMkLst>
      </pc:sldChg>
      <pc:sldChg chg="addSp modSp add mod modAnim">
        <pc:chgData name="José Alberto Sousa Torres" userId="2784cfe513e17c0c" providerId="LiveId" clId="{46443669-731A-3C45-9CF3-DA10A5CBD394}" dt="2025-09-06T20:59:10.276" v="3033"/>
        <pc:sldMkLst>
          <pc:docMk/>
          <pc:sldMk cId="1833561652" sldId="313"/>
        </pc:sldMkLst>
        <pc:spChg chg="mod">
          <ac:chgData name="José Alberto Sousa Torres" userId="2784cfe513e17c0c" providerId="LiveId" clId="{46443669-731A-3C45-9CF3-DA10A5CBD394}" dt="2025-09-06T20:59:06.987" v="3032" actId="113"/>
          <ac:spMkLst>
            <pc:docMk/>
            <pc:sldMk cId="1833561652" sldId="313"/>
            <ac:spMk id="3" creationId="{10EAF167-C632-2E8C-8BFC-BD477E19C903}"/>
          </ac:spMkLst>
        </pc:spChg>
        <pc:picChg chg="add mod">
          <ac:chgData name="José Alberto Sousa Torres" userId="2784cfe513e17c0c" providerId="LiveId" clId="{46443669-731A-3C45-9CF3-DA10A5CBD394}" dt="2025-09-06T20:58:54.609" v="3030"/>
          <ac:picMkLst>
            <pc:docMk/>
            <pc:sldMk cId="1833561652" sldId="313"/>
            <ac:picMk id="4" creationId="{C63A4810-CBB4-8C39-109D-470D9E52A838}"/>
          </ac:picMkLst>
        </pc:picChg>
      </pc:sldChg>
      <pc:sldChg chg="modSp add mod modAnim">
        <pc:chgData name="José Alberto Sousa Torres" userId="2784cfe513e17c0c" providerId="LiveId" clId="{46443669-731A-3C45-9CF3-DA10A5CBD394}" dt="2025-09-06T20:59:41.952" v="3036" actId="1076"/>
        <pc:sldMkLst>
          <pc:docMk/>
          <pc:sldMk cId="1990085684" sldId="314"/>
        </pc:sldMkLst>
        <pc:picChg chg="mod">
          <ac:chgData name="José Alberto Sousa Torres" userId="2784cfe513e17c0c" providerId="LiveId" clId="{46443669-731A-3C45-9CF3-DA10A5CBD394}" dt="2025-09-06T20:59:41.952" v="3036" actId="1076"/>
          <ac:picMkLst>
            <pc:docMk/>
            <pc:sldMk cId="1990085684" sldId="314"/>
            <ac:picMk id="5" creationId="{32E4E8A1-C2C0-0F18-FA18-E1E30DC03BFC}"/>
          </ac:picMkLst>
        </pc:pic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2715866796" sldId="314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777525646" sldId="315"/>
        </pc:sldMkLst>
      </pc:sldChg>
      <pc:sldChg chg="modSp add">
        <pc:chgData name="José Alberto Sousa Torres" userId="2784cfe513e17c0c" providerId="LiveId" clId="{46443669-731A-3C45-9CF3-DA10A5CBD394}" dt="2025-09-06T21:00:25.636" v="3040" actId="20577"/>
        <pc:sldMkLst>
          <pc:docMk/>
          <pc:sldMk cId="1371703849" sldId="315"/>
        </pc:sldMkLst>
        <pc:spChg chg="mod">
          <ac:chgData name="José Alberto Sousa Torres" userId="2784cfe513e17c0c" providerId="LiveId" clId="{46443669-731A-3C45-9CF3-DA10A5CBD394}" dt="2025-09-06T21:00:25.636" v="3040" actId="20577"/>
          <ac:spMkLst>
            <pc:docMk/>
            <pc:sldMk cId="1371703849" sldId="315"/>
            <ac:spMk id="3" creationId="{D0EBC828-56B8-2CE4-D8DD-D7E950DE8598}"/>
          </ac:spMkLst>
        </pc:spChg>
      </pc:sldChg>
      <pc:sldChg chg="add">
        <pc:chgData name="José Alberto Sousa Torres" userId="2784cfe513e17c0c" providerId="LiveId" clId="{46443669-731A-3C45-9CF3-DA10A5CBD394}" dt="2025-08-31T22:08:02.215" v="50"/>
        <pc:sldMkLst>
          <pc:docMk/>
          <pc:sldMk cId="3282848494" sldId="317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3335991889" sldId="317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1969256151" sldId="318"/>
        </pc:sldMkLst>
      </pc:sldChg>
      <pc:sldChg chg="modSp add">
        <pc:chgData name="José Alberto Sousa Torres" userId="2784cfe513e17c0c" providerId="LiveId" clId="{46443669-731A-3C45-9CF3-DA10A5CBD394}" dt="2025-09-06T21:01:56.020" v="3056" actId="113"/>
        <pc:sldMkLst>
          <pc:docMk/>
          <pc:sldMk cId="3576222992" sldId="318"/>
        </pc:sldMkLst>
        <pc:spChg chg="mod">
          <ac:chgData name="José Alberto Sousa Torres" userId="2784cfe513e17c0c" providerId="LiveId" clId="{46443669-731A-3C45-9CF3-DA10A5CBD394}" dt="2025-09-06T21:01:56.020" v="3056" actId="113"/>
          <ac:spMkLst>
            <pc:docMk/>
            <pc:sldMk cId="3576222992" sldId="318"/>
            <ac:spMk id="3" creationId="{6B7A15F6-3BA2-8839-37BC-C9CC4F9F2E81}"/>
          </ac:spMkLst>
        </pc:sp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2723132567" sldId="319"/>
        </pc:sldMkLst>
      </pc:sldChg>
      <pc:sldChg chg="add">
        <pc:chgData name="José Alberto Sousa Torres" userId="2784cfe513e17c0c" providerId="LiveId" clId="{46443669-731A-3C45-9CF3-DA10A5CBD394}" dt="2025-08-31T22:08:02.215" v="50"/>
        <pc:sldMkLst>
          <pc:docMk/>
          <pc:sldMk cId="4237937844" sldId="319"/>
        </pc:sldMkLst>
      </pc:sldChg>
      <pc:sldChg chg="add">
        <pc:chgData name="José Alberto Sousa Torres" userId="2784cfe513e17c0c" providerId="LiveId" clId="{46443669-731A-3C45-9CF3-DA10A5CBD394}" dt="2025-08-31T22:08:02.215" v="50"/>
        <pc:sldMkLst>
          <pc:docMk/>
          <pc:sldMk cId="3097913851" sldId="320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3541426714" sldId="320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935566748" sldId="321"/>
        </pc:sldMkLst>
      </pc:sldChg>
      <pc:sldChg chg="add">
        <pc:chgData name="José Alberto Sousa Torres" userId="2784cfe513e17c0c" providerId="LiveId" clId="{46443669-731A-3C45-9CF3-DA10A5CBD394}" dt="2025-08-31T22:08:02.215" v="50"/>
        <pc:sldMkLst>
          <pc:docMk/>
          <pc:sldMk cId="1146288738" sldId="321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1244796797" sldId="322"/>
        </pc:sldMkLst>
      </pc:sldChg>
      <pc:sldChg chg="addSp delSp modSp add mod">
        <pc:chgData name="José Alberto Sousa Torres" userId="2784cfe513e17c0c" providerId="LiveId" clId="{46443669-731A-3C45-9CF3-DA10A5CBD394}" dt="2025-09-06T21:06:17.623" v="3163" actId="478"/>
        <pc:sldMkLst>
          <pc:docMk/>
          <pc:sldMk cId="2029034909" sldId="322"/>
        </pc:sldMkLst>
        <pc:spChg chg="mod">
          <ac:chgData name="José Alberto Sousa Torres" userId="2784cfe513e17c0c" providerId="LiveId" clId="{46443669-731A-3C45-9CF3-DA10A5CBD394}" dt="2025-09-06T21:05:49.030" v="3162" actId="20577"/>
          <ac:spMkLst>
            <pc:docMk/>
            <pc:sldMk cId="2029034909" sldId="322"/>
            <ac:spMk id="3" creationId="{4C6F7617-BCDF-35E6-5901-45BC6A875595}"/>
          </ac:spMkLst>
        </pc:spChg>
        <pc:spChg chg="add del mod">
          <ac:chgData name="José Alberto Sousa Torres" userId="2784cfe513e17c0c" providerId="LiveId" clId="{46443669-731A-3C45-9CF3-DA10A5CBD394}" dt="2025-09-06T21:06:17.623" v="3163" actId="478"/>
          <ac:spMkLst>
            <pc:docMk/>
            <pc:sldMk cId="2029034909" sldId="322"/>
            <ac:spMk id="6" creationId="{3BA9B381-D657-5258-6D30-D5F9D84A8854}"/>
          </ac:spMkLst>
        </pc:sp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63273640" sldId="323"/>
        </pc:sldMkLst>
      </pc:sldChg>
      <pc:sldChg chg="modSp add">
        <pc:chgData name="José Alberto Sousa Torres" userId="2784cfe513e17c0c" providerId="LiveId" clId="{46443669-731A-3C45-9CF3-DA10A5CBD394}" dt="2025-09-06T21:07:52.504" v="3177" actId="20577"/>
        <pc:sldMkLst>
          <pc:docMk/>
          <pc:sldMk cId="3084251647" sldId="323"/>
        </pc:sldMkLst>
        <pc:spChg chg="mod">
          <ac:chgData name="José Alberto Sousa Torres" userId="2784cfe513e17c0c" providerId="LiveId" clId="{46443669-731A-3C45-9CF3-DA10A5CBD394}" dt="2025-09-06T21:07:52.504" v="3177" actId="20577"/>
          <ac:spMkLst>
            <pc:docMk/>
            <pc:sldMk cId="3084251647" sldId="323"/>
            <ac:spMk id="3" creationId="{08C6259D-5AF6-2C01-3E2B-F3C95CE319C6}"/>
          </ac:spMkLst>
        </pc:sp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431306322" sldId="324"/>
        </pc:sldMkLst>
      </pc:sldChg>
      <pc:sldChg chg="add">
        <pc:chgData name="José Alberto Sousa Torres" userId="2784cfe513e17c0c" providerId="LiveId" clId="{46443669-731A-3C45-9CF3-DA10A5CBD394}" dt="2025-08-31T22:08:02.215" v="50"/>
        <pc:sldMkLst>
          <pc:docMk/>
          <pc:sldMk cId="2188928164" sldId="324"/>
        </pc:sldMkLst>
      </pc:sldChg>
      <pc:sldChg chg="add">
        <pc:chgData name="José Alberto Sousa Torres" userId="2784cfe513e17c0c" providerId="LiveId" clId="{46443669-731A-3C45-9CF3-DA10A5CBD394}" dt="2025-08-31T22:08:02.215" v="50"/>
        <pc:sldMkLst>
          <pc:docMk/>
          <pc:sldMk cId="303778591" sldId="325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4196541023" sldId="325"/>
        </pc:sldMkLst>
      </pc:sldChg>
      <pc:sldChg chg="modSp add mod">
        <pc:chgData name="José Alberto Sousa Torres" userId="2784cfe513e17c0c" providerId="LiveId" clId="{46443669-731A-3C45-9CF3-DA10A5CBD394}" dt="2025-09-06T21:09:28.705" v="3186" actId="20577"/>
        <pc:sldMkLst>
          <pc:docMk/>
          <pc:sldMk cId="2522068249" sldId="4407"/>
        </pc:sldMkLst>
        <pc:spChg chg="mod">
          <ac:chgData name="José Alberto Sousa Torres" userId="2784cfe513e17c0c" providerId="LiveId" clId="{46443669-731A-3C45-9CF3-DA10A5CBD394}" dt="2025-09-05T17:59:10.792" v="51" actId="20577"/>
          <ac:spMkLst>
            <pc:docMk/>
            <pc:sldMk cId="2522068249" sldId="4407"/>
            <ac:spMk id="2" creationId="{18DDC28B-5F8E-359B-F0A2-D32C2092DE73}"/>
          </ac:spMkLst>
        </pc:spChg>
        <pc:graphicFrameChg chg="modGraphic">
          <ac:chgData name="José Alberto Sousa Torres" userId="2784cfe513e17c0c" providerId="LiveId" clId="{46443669-731A-3C45-9CF3-DA10A5CBD394}" dt="2025-09-06T21:09:28.705" v="3186" actId="20577"/>
          <ac:graphicFrameMkLst>
            <pc:docMk/>
            <pc:sldMk cId="2522068249" sldId="4407"/>
            <ac:graphicFrameMk id="64" creationId="{D7E40F1C-6F23-C800-D4E1-F6BA70A953AB}"/>
          </ac:graphicFrameMkLst>
        </pc:graphicFrameChg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3967511676" sldId="4407"/>
        </pc:sldMkLst>
      </pc:sldChg>
      <pc:sldChg chg="del">
        <pc:chgData name="José Alberto Sousa Torres" userId="2784cfe513e17c0c" providerId="LiveId" clId="{46443669-731A-3C45-9CF3-DA10A5CBD394}" dt="2025-08-31T22:08:00.465" v="49" actId="2696"/>
        <pc:sldMkLst>
          <pc:docMk/>
          <pc:sldMk cId="1998930455" sldId="4408"/>
        </pc:sldMkLst>
      </pc:sldChg>
      <pc:sldChg chg="modSp add mod">
        <pc:chgData name="José Alberto Sousa Torres" userId="2784cfe513e17c0c" providerId="LiveId" clId="{46443669-731A-3C45-9CF3-DA10A5CBD394}" dt="2025-09-05T17:59:21.620" v="52" actId="20577"/>
        <pc:sldMkLst>
          <pc:docMk/>
          <pc:sldMk cId="3548276797" sldId="4408"/>
        </pc:sldMkLst>
        <pc:spChg chg="mod">
          <ac:chgData name="José Alberto Sousa Torres" userId="2784cfe513e17c0c" providerId="LiveId" clId="{46443669-731A-3C45-9CF3-DA10A5CBD394}" dt="2025-09-05T17:59:21.620" v="52" actId="20577"/>
          <ac:spMkLst>
            <pc:docMk/>
            <pc:sldMk cId="3548276797" sldId="4408"/>
            <ac:spMk id="2" creationId="{551B2805-2714-636D-02DD-04045A4AAAE9}"/>
          </ac:spMkLst>
        </pc:spChg>
      </pc:sldChg>
      <pc:sldChg chg="modSp new del mod">
        <pc:chgData name="José Alberto Sousa Torres" userId="2784cfe513e17c0c" providerId="LiveId" clId="{46443669-731A-3C45-9CF3-DA10A5CBD394}" dt="2025-09-05T18:03:50.525" v="86" actId="2696"/>
        <pc:sldMkLst>
          <pc:docMk/>
          <pc:sldMk cId="2202893884" sldId="4409"/>
        </pc:sldMkLst>
        <pc:spChg chg="mod">
          <ac:chgData name="José Alberto Sousa Torres" userId="2784cfe513e17c0c" providerId="LiveId" clId="{46443669-731A-3C45-9CF3-DA10A5CBD394}" dt="2025-09-05T18:02:38.880" v="84" actId="20577"/>
          <ac:spMkLst>
            <pc:docMk/>
            <pc:sldMk cId="2202893884" sldId="4409"/>
            <ac:spMk id="2" creationId="{668CDF16-6830-408D-463A-AFFB538F14F3}"/>
          </ac:spMkLst>
        </pc:spChg>
        <pc:spChg chg="mod">
          <ac:chgData name="José Alberto Sousa Torres" userId="2784cfe513e17c0c" providerId="LiveId" clId="{46443669-731A-3C45-9CF3-DA10A5CBD394}" dt="2025-09-05T18:03:07.893" v="85" actId="20577"/>
          <ac:spMkLst>
            <pc:docMk/>
            <pc:sldMk cId="2202893884" sldId="4409"/>
            <ac:spMk id="3" creationId="{13EEAE93-6ED0-40B5-751B-6CA12C2B07C0}"/>
          </ac:spMkLst>
        </pc:spChg>
      </pc:sldChg>
      <pc:sldChg chg="del">
        <pc:chgData name="José Alberto Sousa Torres" userId="2784cfe513e17c0c" providerId="LiveId" clId="{46443669-731A-3C45-9CF3-DA10A5CBD394}" dt="2025-08-31T22:07:56.547" v="12" actId="2696"/>
        <pc:sldMkLst>
          <pc:docMk/>
          <pc:sldMk cId="453869573" sldId="4410"/>
        </pc:sldMkLst>
      </pc:sldChg>
      <pc:sldChg chg="addSp modSp add mod">
        <pc:chgData name="José Alberto Sousa Torres" userId="2784cfe513e17c0c" providerId="LiveId" clId="{46443669-731A-3C45-9CF3-DA10A5CBD394}" dt="2025-09-05T18:08:59.971" v="272" actId="1076"/>
        <pc:sldMkLst>
          <pc:docMk/>
          <pc:sldMk cId="660569213" sldId="4410"/>
        </pc:sldMkLst>
        <pc:spChg chg="mod">
          <ac:chgData name="José Alberto Sousa Torres" userId="2784cfe513e17c0c" providerId="LiveId" clId="{46443669-731A-3C45-9CF3-DA10A5CBD394}" dt="2025-09-05T18:04:23.344" v="106" actId="20577"/>
          <ac:spMkLst>
            <pc:docMk/>
            <pc:sldMk cId="660569213" sldId="4410"/>
            <ac:spMk id="2" creationId="{14D448DE-047E-7FE8-ED36-9F0421775808}"/>
          </ac:spMkLst>
        </pc:spChg>
        <pc:spChg chg="mod">
          <ac:chgData name="José Alberto Sousa Torres" userId="2784cfe513e17c0c" providerId="LiveId" clId="{46443669-731A-3C45-9CF3-DA10A5CBD394}" dt="2025-09-05T18:08:58.359" v="271" actId="21"/>
          <ac:spMkLst>
            <pc:docMk/>
            <pc:sldMk cId="660569213" sldId="4410"/>
            <ac:spMk id="3" creationId="{71688FBA-A83D-056A-F114-08FA1B112AF0}"/>
          </ac:spMkLst>
        </pc:spChg>
        <pc:picChg chg="add mod">
          <ac:chgData name="José Alberto Sousa Torres" userId="2784cfe513e17c0c" providerId="LiveId" clId="{46443669-731A-3C45-9CF3-DA10A5CBD394}" dt="2025-09-05T18:08:59.971" v="272" actId="1076"/>
          <ac:picMkLst>
            <pc:docMk/>
            <pc:sldMk cId="660569213" sldId="4410"/>
            <ac:picMk id="5" creationId="{AF173A50-478A-6106-9F28-D3B9836A9E9F}"/>
          </ac:picMkLst>
        </pc:picChg>
      </pc:sldChg>
      <pc:sldChg chg="delSp modSp add mod modAnim">
        <pc:chgData name="José Alberto Sousa Torres" userId="2784cfe513e17c0c" providerId="LiveId" clId="{46443669-731A-3C45-9CF3-DA10A5CBD394}" dt="2025-09-06T21:11:25.434" v="3210" actId="20577"/>
        <pc:sldMkLst>
          <pc:docMk/>
          <pc:sldMk cId="2267661180" sldId="4411"/>
        </pc:sldMkLst>
        <pc:spChg chg="mod">
          <ac:chgData name="José Alberto Sousa Torres" userId="2784cfe513e17c0c" providerId="LiveId" clId="{46443669-731A-3C45-9CF3-DA10A5CBD394}" dt="2025-09-06T21:11:25.434" v="3210" actId="20577"/>
          <ac:spMkLst>
            <pc:docMk/>
            <pc:sldMk cId="2267661180" sldId="4411"/>
            <ac:spMk id="3" creationId="{66AF00F7-606E-3429-2004-2B53B7291DD5}"/>
          </ac:spMkLst>
        </pc:spChg>
        <pc:picChg chg="del">
          <ac:chgData name="José Alberto Sousa Torres" userId="2784cfe513e17c0c" providerId="LiveId" clId="{46443669-731A-3C45-9CF3-DA10A5CBD394}" dt="2025-09-05T18:09:44.186" v="275" actId="478"/>
          <ac:picMkLst>
            <pc:docMk/>
            <pc:sldMk cId="2267661180" sldId="4411"/>
            <ac:picMk id="5" creationId="{53A01E41-4C45-266A-B705-5298270DC851}"/>
          </ac:picMkLst>
        </pc:picChg>
      </pc:sldChg>
      <pc:sldChg chg="add del">
        <pc:chgData name="José Alberto Sousa Torres" userId="2784cfe513e17c0c" providerId="LiveId" clId="{46443669-731A-3C45-9CF3-DA10A5CBD394}" dt="2025-09-05T18:04:13.986" v="87" actId="2696"/>
        <pc:sldMkLst>
          <pc:docMk/>
          <pc:sldMk cId="2787252986" sldId="4411"/>
        </pc:sldMkLst>
      </pc:sldChg>
      <pc:sldChg chg="modSp add del mod">
        <pc:chgData name="José Alberto Sousa Torres" userId="2784cfe513e17c0c" providerId="LiveId" clId="{46443669-731A-3C45-9CF3-DA10A5CBD394}" dt="2025-09-05T18:22:59.740" v="351" actId="2696"/>
        <pc:sldMkLst>
          <pc:docMk/>
          <pc:sldMk cId="747387423" sldId="4412"/>
        </pc:sldMkLst>
        <pc:spChg chg="mod">
          <ac:chgData name="José Alberto Sousa Torres" userId="2784cfe513e17c0c" providerId="LiveId" clId="{46443669-731A-3C45-9CF3-DA10A5CBD394}" dt="2025-09-05T18:10:39.383" v="289" actId="27636"/>
          <ac:spMkLst>
            <pc:docMk/>
            <pc:sldMk cId="747387423" sldId="4412"/>
            <ac:spMk id="3" creationId="{E7D2D138-9362-7B29-2402-391D2C5943B9}"/>
          </ac:spMkLst>
        </pc:spChg>
      </pc:sldChg>
      <pc:sldChg chg="add del">
        <pc:chgData name="José Alberto Sousa Torres" userId="2784cfe513e17c0c" providerId="LiveId" clId="{46443669-731A-3C45-9CF3-DA10A5CBD394}" dt="2025-09-05T18:23:08.078" v="352" actId="2696"/>
        <pc:sldMkLst>
          <pc:docMk/>
          <pc:sldMk cId="867642762" sldId="4413"/>
        </pc:sldMkLst>
      </pc:sldChg>
      <pc:sldChg chg="modSp add mod modAnim">
        <pc:chgData name="José Alberto Sousa Torres" userId="2784cfe513e17c0c" providerId="LiveId" clId="{46443669-731A-3C45-9CF3-DA10A5CBD394}" dt="2025-09-06T22:20:22.815" v="4649" actId="20577"/>
        <pc:sldMkLst>
          <pc:docMk/>
          <pc:sldMk cId="3039354241" sldId="4414"/>
        </pc:sldMkLst>
        <pc:spChg chg="mod">
          <ac:chgData name="José Alberto Sousa Torres" userId="2784cfe513e17c0c" providerId="LiveId" clId="{46443669-731A-3C45-9CF3-DA10A5CBD394}" dt="2025-09-06T22:19:48.655" v="4645" actId="113"/>
          <ac:spMkLst>
            <pc:docMk/>
            <pc:sldMk cId="3039354241" sldId="4414"/>
            <ac:spMk id="2" creationId="{B9BAA7D4-2B16-8034-3E87-4F74738E48C1}"/>
          </ac:spMkLst>
        </pc:spChg>
        <pc:spChg chg="mod">
          <ac:chgData name="José Alberto Sousa Torres" userId="2784cfe513e17c0c" providerId="LiveId" clId="{46443669-731A-3C45-9CF3-DA10A5CBD394}" dt="2025-09-06T22:20:22.815" v="4649" actId="20577"/>
          <ac:spMkLst>
            <pc:docMk/>
            <pc:sldMk cId="3039354241" sldId="4414"/>
            <ac:spMk id="3" creationId="{700A6E80-E45A-05EA-ED93-95C59E8EC6F8}"/>
          </ac:spMkLst>
        </pc:spChg>
      </pc:sldChg>
      <pc:sldChg chg="modSp new del mod">
        <pc:chgData name="José Alberto Sousa Torres" userId="2784cfe513e17c0c" providerId="LiveId" clId="{46443669-731A-3C45-9CF3-DA10A5CBD394}" dt="2025-09-05T19:46:51.289" v="1465" actId="2696"/>
        <pc:sldMkLst>
          <pc:docMk/>
          <pc:sldMk cId="2180304842" sldId="4415"/>
        </pc:sldMkLst>
        <pc:spChg chg="mod">
          <ac:chgData name="José Alberto Sousa Torres" userId="2784cfe513e17c0c" providerId="LiveId" clId="{46443669-731A-3C45-9CF3-DA10A5CBD394}" dt="2025-09-05T18:24:02.726" v="355" actId="27636"/>
          <ac:spMkLst>
            <pc:docMk/>
            <pc:sldMk cId="2180304842" sldId="4415"/>
            <ac:spMk id="3" creationId="{C256CA41-2072-609A-D511-CFD507D54B9E}"/>
          </ac:spMkLst>
        </pc:spChg>
      </pc:sldChg>
      <pc:sldChg chg="del">
        <pc:chgData name="José Alberto Sousa Torres" userId="2784cfe513e17c0c" providerId="LiveId" clId="{46443669-731A-3C45-9CF3-DA10A5CBD394}" dt="2025-08-31T22:07:56.590" v="35" actId="2696"/>
        <pc:sldMkLst>
          <pc:docMk/>
          <pc:sldMk cId="3247581272" sldId="4415"/>
        </pc:sldMkLst>
      </pc:sldChg>
      <pc:sldChg chg="addSp delSp modSp new mod chgLayout">
        <pc:chgData name="José Alberto Sousa Torres" userId="2784cfe513e17c0c" providerId="LiveId" clId="{46443669-731A-3C45-9CF3-DA10A5CBD394}" dt="2025-09-06T21:43:48.329" v="3790" actId="1076"/>
        <pc:sldMkLst>
          <pc:docMk/>
          <pc:sldMk cId="1995058208" sldId="4416"/>
        </pc:sldMkLst>
        <pc:spChg chg="mod ord">
          <ac:chgData name="José Alberto Sousa Torres" userId="2784cfe513e17c0c" providerId="LiveId" clId="{46443669-731A-3C45-9CF3-DA10A5CBD394}" dt="2025-09-06T21:42:45.004" v="3727" actId="20577"/>
          <ac:spMkLst>
            <pc:docMk/>
            <pc:sldMk cId="1995058208" sldId="4416"/>
            <ac:spMk id="2" creationId="{E17DAD3B-8A71-0604-9054-4DB3BA605AF2}"/>
          </ac:spMkLst>
        </pc:spChg>
        <pc:spChg chg="add mod ord">
          <ac:chgData name="José Alberto Sousa Torres" userId="2784cfe513e17c0c" providerId="LiveId" clId="{46443669-731A-3C45-9CF3-DA10A5CBD394}" dt="2025-09-06T21:43:37.290" v="3785" actId="20577"/>
          <ac:spMkLst>
            <pc:docMk/>
            <pc:sldMk cId="1995058208" sldId="4416"/>
            <ac:spMk id="3" creationId="{6AC546A4-C1AA-3CB8-4736-483FA574F3A1}"/>
          </ac:spMkLst>
        </pc:spChg>
        <pc:spChg chg="del">
          <ac:chgData name="José Alberto Sousa Torres" userId="2784cfe513e17c0c" providerId="LiveId" clId="{46443669-731A-3C45-9CF3-DA10A5CBD394}" dt="2025-09-05T18:30:27.137" v="374" actId="478"/>
          <ac:spMkLst>
            <pc:docMk/>
            <pc:sldMk cId="1995058208" sldId="4416"/>
            <ac:spMk id="3" creationId="{792A10E9-DFA9-A673-09BE-8F5F6F1C0D0C}"/>
          </ac:spMkLst>
        </pc:spChg>
        <pc:spChg chg="add del mod">
          <ac:chgData name="José Alberto Sousa Torres" userId="2784cfe513e17c0c" providerId="LiveId" clId="{46443669-731A-3C45-9CF3-DA10A5CBD394}" dt="2025-09-05T18:31:33.417" v="390" actId="478"/>
          <ac:spMkLst>
            <pc:docMk/>
            <pc:sldMk cId="1995058208" sldId="4416"/>
            <ac:spMk id="4" creationId="{9CCEF0FB-E7B0-9F4C-D7BC-F91B4633B432}"/>
          </ac:spMkLst>
        </pc:spChg>
        <pc:spChg chg="add del mod">
          <ac:chgData name="José Alberto Sousa Torres" userId="2784cfe513e17c0c" providerId="LiveId" clId="{46443669-731A-3C45-9CF3-DA10A5CBD394}" dt="2025-09-05T18:31:33.417" v="390" actId="478"/>
          <ac:spMkLst>
            <pc:docMk/>
            <pc:sldMk cId="1995058208" sldId="4416"/>
            <ac:spMk id="5" creationId="{22DFE5C9-19EA-815F-150C-3D20BA516742}"/>
          </ac:spMkLst>
        </pc:spChg>
        <pc:spChg chg="add del mod">
          <ac:chgData name="José Alberto Sousa Torres" userId="2784cfe513e17c0c" providerId="LiveId" clId="{46443669-731A-3C45-9CF3-DA10A5CBD394}" dt="2025-09-05T18:31:33.417" v="390" actId="478"/>
          <ac:spMkLst>
            <pc:docMk/>
            <pc:sldMk cId="1995058208" sldId="4416"/>
            <ac:spMk id="6" creationId="{F67BC71F-4239-CA59-7436-07A70A2DD21B}"/>
          </ac:spMkLst>
        </pc:spChg>
        <pc:spChg chg="add del mod">
          <ac:chgData name="José Alberto Sousa Torres" userId="2784cfe513e17c0c" providerId="LiveId" clId="{46443669-731A-3C45-9CF3-DA10A5CBD394}" dt="2025-09-05T18:31:33.417" v="390" actId="478"/>
          <ac:spMkLst>
            <pc:docMk/>
            <pc:sldMk cId="1995058208" sldId="4416"/>
            <ac:spMk id="7" creationId="{2C3C74AF-B1D8-7DAE-A24C-071480874E7A}"/>
          </ac:spMkLst>
        </pc:spChg>
        <pc:picChg chg="add mod">
          <ac:chgData name="José Alberto Sousa Torres" userId="2784cfe513e17c0c" providerId="LiveId" clId="{46443669-731A-3C45-9CF3-DA10A5CBD394}" dt="2025-09-06T21:43:48.329" v="3790" actId="1076"/>
          <ac:picMkLst>
            <pc:docMk/>
            <pc:sldMk cId="1995058208" sldId="4416"/>
            <ac:picMk id="1026" creationId="{93605E25-70B8-19D1-C196-977066FBACAE}"/>
          </ac:picMkLst>
        </pc:picChg>
        <pc:picChg chg="add mod">
          <ac:chgData name="José Alberto Sousa Torres" userId="2784cfe513e17c0c" providerId="LiveId" clId="{46443669-731A-3C45-9CF3-DA10A5CBD394}" dt="2025-09-06T21:43:45.912" v="3789" actId="1076"/>
          <ac:picMkLst>
            <pc:docMk/>
            <pc:sldMk cId="1995058208" sldId="4416"/>
            <ac:picMk id="1028" creationId="{E57A76FE-26EB-20E2-DC71-6BA20179F5FA}"/>
          </ac:picMkLst>
        </pc:picChg>
        <pc:cxnChg chg="add del mod">
          <ac:chgData name="José Alberto Sousa Torres" userId="2784cfe513e17c0c" providerId="LiveId" clId="{46443669-731A-3C45-9CF3-DA10A5CBD394}" dt="2025-09-05T18:31:33.417" v="390" actId="478"/>
          <ac:cxnSpMkLst>
            <pc:docMk/>
            <pc:sldMk cId="1995058208" sldId="4416"/>
            <ac:cxnSpMk id="9" creationId="{0EE38C26-16BB-4A58-6B60-E00D26DED007}"/>
          </ac:cxnSpMkLst>
        </pc:cxnChg>
      </pc:sldChg>
      <pc:sldChg chg="modSp add">
        <pc:chgData name="José Alberto Sousa Torres" userId="2784cfe513e17c0c" providerId="LiveId" clId="{46443669-731A-3C45-9CF3-DA10A5CBD394}" dt="2025-09-06T21:42:57.964" v="3728" actId="113"/>
        <pc:sldMkLst>
          <pc:docMk/>
          <pc:sldMk cId="1254021729" sldId="4417"/>
        </pc:sldMkLst>
        <pc:spChg chg="mod">
          <ac:chgData name="José Alberto Sousa Torres" userId="2784cfe513e17c0c" providerId="LiveId" clId="{46443669-731A-3C45-9CF3-DA10A5CBD394}" dt="2025-09-06T21:42:57.964" v="3728" actId="113"/>
          <ac:spMkLst>
            <pc:docMk/>
            <pc:sldMk cId="1254021729" sldId="4417"/>
            <ac:spMk id="3" creationId="{4AFAB4EC-EBD0-7085-CEE0-BCA697A3A85E}"/>
          </ac:spMkLst>
        </pc:spChg>
      </pc:sldChg>
      <pc:sldChg chg="modSp new del mod modAnim">
        <pc:chgData name="José Alberto Sousa Torres" userId="2784cfe513e17c0c" providerId="LiveId" clId="{46443669-731A-3C45-9CF3-DA10A5CBD394}" dt="2025-09-06T21:42:37.558" v="3718" actId="2696"/>
        <pc:sldMkLst>
          <pc:docMk/>
          <pc:sldMk cId="2548989047" sldId="4417"/>
        </pc:sldMkLst>
        <pc:spChg chg="mod">
          <ac:chgData name="José Alberto Sousa Torres" userId="2784cfe513e17c0c" providerId="LiveId" clId="{46443669-731A-3C45-9CF3-DA10A5CBD394}" dt="2025-09-05T18:33:10.509" v="430" actId="20577"/>
          <ac:spMkLst>
            <pc:docMk/>
            <pc:sldMk cId="2548989047" sldId="4417"/>
            <ac:spMk id="2" creationId="{212EFEFA-E7B3-959A-5E8E-A769AC3153C8}"/>
          </ac:spMkLst>
        </pc:spChg>
        <pc:spChg chg="mod">
          <ac:chgData name="José Alberto Sousa Torres" userId="2784cfe513e17c0c" providerId="LiveId" clId="{46443669-731A-3C45-9CF3-DA10A5CBD394}" dt="2025-09-05T18:36:24.423" v="488" actId="20577"/>
          <ac:spMkLst>
            <pc:docMk/>
            <pc:sldMk cId="2548989047" sldId="4417"/>
            <ac:spMk id="3" creationId="{4AFAB4EC-EBD0-7085-CEE0-BCA697A3A85E}"/>
          </ac:spMkLst>
        </pc:spChg>
      </pc:sldChg>
      <pc:sldChg chg="modSp new mod modAnim">
        <pc:chgData name="José Alberto Sousa Torres" userId="2784cfe513e17c0c" providerId="LiveId" clId="{46443669-731A-3C45-9CF3-DA10A5CBD394}" dt="2025-09-06T21:20:43.392" v="3219"/>
        <pc:sldMkLst>
          <pc:docMk/>
          <pc:sldMk cId="2125679054" sldId="4418"/>
        </pc:sldMkLst>
        <pc:spChg chg="mod">
          <ac:chgData name="José Alberto Sousa Torres" userId="2784cfe513e17c0c" providerId="LiveId" clId="{46443669-731A-3C45-9CF3-DA10A5CBD394}" dt="2025-09-05T18:40:57.581" v="490"/>
          <ac:spMkLst>
            <pc:docMk/>
            <pc:sldMk cId="2125679054" sldId="4418"/>
            <ac:spMk id="2" creationId="{C386E0FA-7960-D435-986E-3183199B0C2B}"/>
          </ac:spMkLst>
        </pc:spChg>
        <pc:spChg chg="mod">
          <ac:chgData name="José Alberto Sousa Torres" userId="2784cfe513e17c0c" providerId="LiveId" clId="{46443669-731A-3C45-9CF3-DA10A5CBD394}" dt="2025-09-06T21:19:48.032" v="3218" actId="113"/>
          <ac:spMkLst>
            <pc:docMk/>
            <pc:sldMk cId="2125679054" sldId="4418"/>
            <ac:spMk id="3" creationId="{E2283E89-C943-1073-78A9-A7D60D2828D0}"/>
          </ac:spMkLst>
        </pc:spChg>
      </pc:sldChg>
      <pc:sldChg chg="addSp delSp modSp add mod modAnim">
        <pc:chgData name="José Alberto Sousa Torres" userId="2784cfe513e17c0c" providerId="LiveId" clId="{46443669-731A-3C45-9CF3-DA10A5CBD394}" dt="2025-09-06T21:23:17.570" v="3226" actId="20577"/>
        <pc:sldMkLst>
          <pc:docMk/>
          <pc:sldMk cId="505284003" sldId="4419"/>
        </pc:sldMkLst>
        <pc:spChg chg="mod">
          <ac:chgData name="José Alberto Sousa Torres" userId="2784cfe513e17c0c" providerId="LiveId" clId="{46443669-731A-3C45-9CF3-DA10A5CBD394}" dt="2025-09-06T21:23:17.570" v="3226" actId="20577"/>
          <ac:spMkLst>
            <pc:docMk/>
            <pc:sldMk cId="505284003" sldId="4419"/>
            <ac:spMk id="3" creationId="{C8A57BE1-C3AC-01C4-1C0C-9F6D8AB4057A}"/>
          </ac:spMkLst>
        </pc:spChg>
        <pc:picChg chg="add del mod">
          <ac:chgData name="José Alberto Sousa Torres" userId="2784cfe513e17c0c" providerId="LiveId" clId="{46443669-731A-3C45-9CF3-DA10A5CBD394}" dt="2025-09-06T21:22:49.962" v="3224" actId="21"/>
          <ac:picMkLst>
            <pc:docMk/>
            <pc:sldMk cId="505284003" sldId="4419"/>
            <ac:picMk id="5" creationId="{861022C6-61DA-B057-C3DE-D87AA106F362}"/>
          </ac:picMkLst>
        </pc:picChg>
        <pc:picChg chg="add mod">
          <ac:chgData name="José Alberto Sousa Torres" userId="2784cfe513e17c0c" providerId="LiveId" clId="{46443669-731A-3C45-9CF3-DA10A5CBD394}" dt="2025-09-06T21:23:00.468" v="3225"/>
          <ac:picMkLst>
            <pc:docMk/>
            <pc:sldMk cId="505284003" sldId="4419"/>
            <ac:picMk id="6" creationId="{29B01AAA-0C12-F12F-5261-4D723D0E96C6}"/>
          </ac:picMkLst>
        </pc:picChg>
      </pc:sldChg>
      <pc:sldChg chg="del">
        <pc:chgData name="José Alberto Sousa Torres" userId="2784cfe513e17c0c" providerId="LiveId" clId="{46443669-731A-3C45-9CF3-DA10A5CBD394}" dt="2025-08-31T22:07:56.575" v="27" actId="2696"/>
        <pc:sldMkLst>
          <pc:docMk/>
          <pc:sldMk cId="936339232" sldId="4420"/>
        </pc:sldMkLst>
      </pc:sldChg>
      <pc:sldChg chg="modSp add mod modAnim">
        <pc:chgData name="José Alberto Sousa Torres" userId="2784cfe513e17c0c" providerId="LiveId" clId="{46443669-731A-3C45-9CF3-DA10A5CBD394}" dt="2025-09-06T21:25:43.603" v="3241" actId="113"/>
        <pc:sldMkLst>
          <pc:docMk/>
          <pc:sldMk cId="3409567809" sldId="4420"/>
        </pc:sldMkLst>
        <pc:spChg chg="mod">
          <ac:chgData name="José Alberto Sousa Torres" userId="2784cfe513e17c0c" providerId="LiveId" clId="{46443669-731A-3C45-9CF3-DA10A5CBD394}" dt="2025-09-06T21:25:43.603" v="3241" actId="113"/>
          <ac:spMkLst>
            <pc:docMk/>
            <pc:sldMk cId="3409567809" sldId="4420"/>
            <ac:spMk id="3" creationId="{C793323F-48C2-43EA-7418-75FCC02300E2}"/>
          </ac:spMkLst>
        </pc:spChg>
      </pc:sldChg>
      <pc:sldChg chg="modSp add mod modAnim">
        <pc:chgData name="José Alberto Sousa Torres" userId="2784cfe513e17c0c" providerId="LiveId" clId="{46443669-731A-3C45-9CF3-DA10A5CBD394}" dt="2025-09-05T19:08:57.688" v="974" actId="20577"/>
        <pc:sldMkLst>
          <pc:docMk/>
          <pc:sldMk cId="2946021203" sldId="4421"/>
        </pc:sldMkLst>
        <pc:spChg chg="mod">
          <ac:chgData name="José Alberto Sousa Torres" userId="2784cfe513e17c0c" providerId="LiveId" clId="{46443669-731A-3C45-9CF3-DA10A5CBD394}" dt="2025-09-05T19:08:57.688" v="974" actId="20577"/>
          <ac:spMkLst>
            <pc:docMk/>
            <pc:sldMk cId="2946021203" sldId="4421"/>
            <ac:spMk id="3" creationId="{AD7F9B5E-C3D7-F8F6-6067-43A6AF72949A}"/>
          </ac:spMkLst>
        </pc:spChg>
      </pc:sldChg>
      <pc:sldChg chg="modSp add mod modAnim">
        <pc:chgData name="José Alberto Sousa Torres" userId="2784cfe513e17c0c" providerId="LiveId" clId="{46443669-731A-3C45-9CF3-DA10A5CBD394}" dt="2025-09-05T19:12:58.293" v="1047" actId="20577"/>
        <pc:sldMkLst>
          <pc:docMk/>
          <pc:sldMk cId="633970902" sldId="4422"/>
        </pc:sldMkLst>
        <pc:spChg chg="mod">
          <ac:chgData name="José Alberto Sousa Torres" userId="2784cfe513e17c0c" providerId="LiveId" clId="{46443669-731A-3C45-9CF3-DA10A5CBD394}" dt="2025-09-05T19:12:58.293" v="1047" actId="20577"/>
          <ac:spMkLst>
            <pc:docMk/>
            <pc:sldMk cId="633970902" sldId="4422"/>
            <ac:spMk id="3" creationId="{8C2DF257-7AEB-58CC-0929-D59832B0C973}"/>
          </ac:spMkLst>
        </pc:spChg>
      </pc:sldChg>
      <pc:sldChg chg="del">
        <pc:chgData name="José Alberto Sousa Torres" userId="2784cfe513e17c0c" providerId="LiveId" clId="{46443669-731A-3C45-9CF3-DA10A5CBD394}" dt="2025-08-31T22:07:56.576" v="28" actId="2696"/>
        <pc:sldMkLst>
          <pc:docMk/>
          <pc:sldMk cId="2531122369" sldId="4422"/>
        </pc:sldMkLst>
      </pc:sldChg>
      <pc:sldChg chg="modSp add mod modAnim">
        <pc:chgData name="José Alberto Sousa Torres" userId="2784cfe513e17c0c" providerId="LiveId" clId="{46443669-731A-3C45-9CF3-DA10A5CBD394}" dt="2025-09-05T18:54:33.412" v="567" actId="27636"/>
        <pc:sldMkLst>
          <pc:docMk/>
          <pc:sldMk cId="3094991492" sldId="4423"/>
        </pc:sldMkLst>
        <pc:spChg chg="mod">
          <ac:chgData name="José Alberto Sousa Torres" userId="2784cfe513e17c0c" providerId="LiveId" clId="{46443669-731A-3C45-9CF3-DA10A5CBD394}" dt="2025-09-05T18:54:33.412" v="567" actId="27636"/>
          <ac:spMkLst>
            <pc:docMk/>
            <pc:sldMk cId="3094991492" sldId="4423"/>
            <ac:spMk id="3" creationId="{69B12FA9-EED3-6374-FAB7-6458FEC4409E}"/>
          </ac:spMkLst>
        </pc:spChg>
      </pc:sldChg>
      <pc:sldChg chg="modSp add mod modAnim">
        <pc:chgData name="José Alberto Sousa Torres" userId="2784cfe513e17c0c" providerId="LiveId" clId="{46443669-731A-3C45-9CF3-DA10A5CBD394}" dt="2025-09-05T18:57:38.230" v="628" actId="20577"/>
        <pc:sldMkLst>
          <pc:docMk/>
          <pc:sldMk cId="1921631775" sldId="4424"/>
        </pc:sldMkLst>
        <pc:spChg chg="mod">
          <ac:chgData name="José Alberto Sousa Torres" userId="2784cfe513e17c0c" providerId="LiveId" clId="{46443669-731A-3C45-9CF3-DA10A5CBD394}" dt="2025-09-05T18:57:38.230" v="628" actId="20577"/>
          <ac:spMkLst>
            <pc:docMk/>
            <pc:sldMk cId="1921631775" sldId="4424"/>
            <ac:spMk id="3" creationId="{16B00F28-F0FA-9695-E51A-B198BAE2DED1}"/>
          </ac:spMkLst>
        </pc:spChg>
      </pc:sldChg>
      <pc:sldChg chg="del">
        <pc:chgData name="José Alberto Sousa Torres" userId="2784cfe513e17c0c" providerId="LiveId" clId="{46443669-731A-3C45-9CF3-DA10A5CBD394}" dt="2025-08-31T22:07:56.595" v="42" actId="2696"/>
        <pc:sldMkLst>
          <pc:docMk/>
          <pc:sldMk cId="263784685" sldId="4425"/>
        </pc:sldMkLst>
      </pc:sldChg>
      <pc:sldChg chg="modSp add mod modAnim">
        <pc:chgData name="José Alberto Sousa Torres" userId="2784cfe513e17c0c" providerId="LiveId" clId="{46443669-731A-3C45-9CF3-DA10A5CBD394}" dt="2025-09-05T19:25:48.463" v="1227" actId="27636"/>
        <pc:sldMkLst>
          <pc:docMk/>
          <pc:sldMk cId="2384789715" sldId="4425"/>
        </pc:sldMkLst>
        <pc:spChg chg="mod">
          <ac:chgData name="José Alberto Sousa Torres" userId="2784cfe513e17c0c" providerId="LiveId" clId="{46443669-731A-3C45-9CF3-DA10A5CBD394}" dt="2025-09-05T19:25:48.463" v="1227" actId="27636"/>
          <ac:spMkLst>
            <pc:docMk/>
            <pc:sldMk cId="2384789715" sldId="4425"/>
            <ac:spMk id="3" creationId="{D38CB9F5-ADDD-51F7-8A1B-B9D9CE104D25}"/>
          </ac:spMkLst>
        </pc:spChg>
      </pc:sldChg>
      <pc:sldChg chg="new del">
        <pc:chgData name="José Alberto Sousa Torres" userId="2784cfe513e17c0c" providerId="LiveId" clId="{46443669-731A-3C45-9CF3-DA10A5CBD394}" dt="2025-09-05T18:58:01.850" v="630" actId="680"/>
        <pc:sldMkLst>
          <pc:docMk/>
          <pc:sldMk cId="4159558031" sldId="4425"/>
        </pc:sldMkLst>
      </pc:sldChg>
      <pc:sldChg chg="modSp new mod modAnim">
        <pc:chgData name="José Alberto Sousa Torres" userId="2784cfe513e17c0c" providerId="LiveId" clId="{46443669-731A-3C45-9CF3-DA10A5CBD394}" dt="2025-09-06T21:50:50.219" v="3839" actId="113"/>
        <pc:sldMkLst>
          <pc:docMk/>
          <pc:sldMk cId="1168238139" sldId="4426"/>
        </pc:sldMkLst>
        <pc:spChg chg="mod">
          <ac:chgData name="José Alberto Sousa Torres" userId="2784cfe513e17c0c" providerId="LiveId" clId="{46443669-731A-3C45-9CF3-DA10A5CBD394}" dt="2025-09-05T18:59:10.481" v="642"/>
          <ac:spMkLst>
            <pc:docMk/>
            <pc:sldMk cId="1168238139" sldId="4426"/>
            <ac:spMk id="2" creationId="{2D0C1366-938F-219C-56D9-E3C5EA80C406}"/>
          </ac:spMkLst>
        </pc:spChg>
        <pc:spChg chg="mod">
          <ac:chgData name="José Alberto Sousa Torres" userId="2784cfe513e17c0c" providerId="LiveId" clId="{46443669-731A-3C45-9CF3-DA10A5CBD394}" dt="2025-09-06T21:50:50.219" v="3839" actId="113"/>
          <ac:spMkLst>
            <pc:docMk/>
            <pc:sldMk cId="1168238139" sldId="4426"/>
            <ac:spMk id="3" creationId="{CDE9B9B0-55BC-1327-A3FF-74A78863EEE1}"/>
          </ac:spMkLst>
        </pc:spChg>
      </pc:sldChg>
      <pc:sldChg chg="del">
        <pc:chgData name="José Alberto Sousa Torres" userId="2784cfe513e17c0c" providerId="LiveId" clId="{46443669-731A-3C45-9CF3-DA10A5CBD394}" dt="2025-08-31T22:07:56.561" v="15" actId="2696"/>
        <pc:sldMkLst>
          <pc:docMk/>
          <pc:sldMk cId="1220924453" sldId="4426"/>
        </pc:sldMkLst>
      </pc:sldChg>
      <pc:sldChg chg="modSp new mod modAnim">
        <pc:chgData name="José Alberto Sousa Torres" userId="2784cfe513e17c0c" providerId="LiveId" clId="{46443669-731A-3C45-9CF3-DA10A5CBD394}" dt="2025-09-06T21:53:04.408" v="3840"/>
        <pc:sldMkLst>
          <pc:docMk/>
          <pc:sldMk cId="1133391929" sldId="4427"/>
        </pc:sldMkLst>
        <pc:spChg chg="mod">
          <ac:chgData name="José Alberto Sousa Torres" userId="2784cfe513e17c0c" providerId="LiveId" clId="{46443669-731A-3C45-9CF3-DA10A5CBD394}" dt="2025-09-05T19:37:50.859" v="1327"/>
          <ac:spMkLst>
            <pc:docMk/>
            <pc:sldMk cId="1133391929" sldId="4427"/>
            <ac:spMk id="2" creationId="{5C592EC9-E678-02B2-749F-89A1F847895C}"/>
          </ac:spMkLst>
        </pc:spChg>
        <pc:spChg chg="mod">
          <ac:chgData name="José Alberto Sousa Torres" userId="2784cfe513e17c0c" providerId="LiveId" clId="{46443669-731A-3C45-9CF3-DA10A5CBD394}" dt="2025-09-05T19:38:44.408" v="1334" actId="113"/>
          <ac:spMkLst>
            <pc:docMk/>
            <pc:sldMk cId="1133391929" sldId="4427"/>
            <ac:spMk id="3" creationId="{9A27C219-9B8E-DDC2-46F3-2847160C3EB5}"/>
          </ac:spMkLst>
        </pc:spChg>
      </pc:sldChg>
      <pc:sldChg chg="addSp delSp modSp add mod">
        <pc:chgData name="José Alberto Sousa Torres" userId="2784cfe513e17c0c" providerId="LiveId" clId="{46443669-731A-3C45-9CF3-DA10A5CBD394}" dt="2025-09-05T19:10:33.727" v="992"/>
        <pc:sldMkLst>
          <pc:docMk/>
          <pc:sldMk cId="1067305246" sldId="4428"/>
        </pc:sldMkLst>
        <pc:spChg chg="mod">
          <ac:chgData name="José Alberto Sousa Torres" userId="2784cfe513e17c0c" providerId="LiveId" clId="{46443669-731A-3C45-9CF3-DA10A5CBD394}" dt="2025-09-05T19:03:45.269" v="699" actId="1076"/>
          <ac:spMkLst>
            <pc:docMk/>
            <pc:sldMk cId="1067305246" sldId="4428"/>
            <ac:spMk id="2" creationId="{C8F5497E-2226-9B7E-2BEC-64F0BA7CF7F2}"/>
          </ac:spMkLst>
        </pc:spChg>
        <pc:spChg chg="del">
          <ac:chgData name="José Alberto Sousa Torres" userId="2784cfe513e17c0c" providerId="LiveId" clId="{46443669-731A-3C45-9CF3-DA10A5CBD394}" dt="2025-09-05T19:01:43.816" v="653" actId="478"/>
          <ac:spMkLst>
            <pc:docMk/>
            <pc:sldMk cId="1067305246" sldId="4428"/>
            <ac:spMk id="3" creationId="{0343B86F-A78A-1381-558F-7AD4748BF4BD}"/>
          </ac:spMkLst>
        </pc:spChg>
        <pc:spChg chg="add del mod">
          <ac:chgData name="José Alberto Sousa Torres" userId="2784cfe513e17c0c" providerId="LiveId" clId="{46443669-731A-3C45-9CF3-DA10A5CBD394}" dt="2025-09-05T19:01:44.806" v="654" actId="478"/>
          <ac:spMkLst>
            <pc:docMk/>
            <pc:sldMk cId="1067305246" sldId="4428"/>
            <ac:spMk id="5" creationId="{8A28EC2E-5A25-423D-8C79-CEAD3D991F9F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6" creationId="{EDF7069F-6886-9B6E-4141-56B6B1A411C3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7" creationId="{C56F817E-4A23-8EE8-4AD8-0B2072050CB3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8" creationId="{803F4683-B827-7313-ACC9-AEB35D6F4819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9" creationId="{37265506-E64F-A75D-6606-4F020D024BBC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10" creationId="{6CEB4983-66F5-F3BE-AC21-D3E4C0347898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27" creationId="{38CB9945-011A-8890-7E34-5A5C69146C98}"/>
          </ac:spMkLst>
        </pc:spChg>
        <pc:spChg chg="add mod">
          <ac:chgData name="José Alberto Sousa Torres" userId="2784cfe513e17c0c" providerId="LiveId" clId="{46443669-731A-3C45-9CF3-DA10A5CBD394}" dt="2025-09-05T19:03:31.697" v="694"/>
          <ac:spMkLst>
            <pc:docMk/>
            <pc:sldMk cId="1067305246" sldId="4428"/>
            <ac:spMk id="28" creationId="{7205B149-7419-D7DF-C6D8-11A5531F4365}"/>
          </ac:spMkLst>
        </pc:spChg>
        <pc:spChg chg="add mod">
          <ac:chgData name="José Alberto Sousa Torres" userId="2784cfe513e17c0c" providerId="LiveId" clId="{46443669-731A-3C45-9CF3-DA10A5CBD394}" dt="2025-09-05T19:04:07.065" v="707" actId="1076"/>
          <ac:spMkLst>
            <pc:docMk/>
            <pc:sldMk cId="1067305246" sldId="4428"/>
            <ac:spMk id="32" creationId="{8A697F8A-AE76-424B-7B76-0C6B1D27A1FE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33" creationId="{114DA13F-2E40-AC23-3D6E-E3B3D578ED37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34" creationId="{016422C6-9344-82F1-AEEA-01E1E22524D7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43" creationId="{C942F46C-4639-8FE5-E44D-DDF33319F882}"/>
          </ac:spMkLst>
        </pc:spChg>
        <pc:spChg chg="add del mod">
          <ac:chgData name="José Alberto Sousa Torres" userId="2784cfe513e17c0c" providerId="LiveId" clId="{46443669-731A-3C45-9CF3-DA10A5CBD394}" dt="2025-09-05T19:10:33.429" v="991" actId="478"/>
          <ac:spMkLst>
            <pc:docMk/>
            <pc:sldMk cId="1067305246" sldId="4428"/>
            <ac:spMk id="46" creationId="{440497C5-0EF8-522C-F133-F660FE0A1BCC}"/>
          </ac:spMkLst>
        </pc:spChg>
        <pc:spChg chg="add mod">
          <ac:chgData name="José Alberto Sousa Torres" userId="2784cfe513e17c0c" providerId="LiveId" clId="{46443669-731A-3C45-9CF3-DA10A5CBD394}" dt="2025-09-05T19:05:33.739" v="733" actId="20577"/>
          <ac:spMkLst>
            <pc:docMk/>
            <pc:sldMk cId="1067305246" sldId="4428"/>
            <ac:spMk id="49" creationId="{5ED67991-654C-4A6A-3FB3-05CEE3ECB051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50" creationId="{1E55B635-A1A1-744F-7139-509635C9C591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51" creationId="{6ED1FFEF-3A97-0433-CC73-BDE16A2AD81B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52" creationId="{7E0160AE-1F9B-D23A-78CB-D14345EA52A3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53" creationId="{D765A9C1-BE55-BD28-6F4A-F6785BBB7A6E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54" creationId="{5E35AC72-123C-8D44-835B-82C94C59F810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60" creationId="{8BEB446A-920E-5C90-B4A5-31F2B3393F99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63" creationId="{07567D94-F049-C1A0-B407-307FCBDCE357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65" creationId="{1AB99499-15F6-7ECF-ABAB-97E86D9454EE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66" creationId="{35EE5D5B-E6E3-0D8D-3709-E640B67D20E5}"/>
          </ac:spMkLst>
        </pc:spChg>
        <pc:spChg chg="add mod">
          <ac:chgData name="José Alberto Sousa Torres" userId="2784cfe513e17c0c" providerId="LiveId" clId="{46443669-731A-3C45-9CF3-DA10A5CBD394}" dt="2025-09-05T19:10:33.727" v="992"/>
          <ac:spMkLst>
            <pc:docMk/>
            <pc:sldMk cId="1067305246" sldId="4428"/>
            <ac:spMk id="67" creationId="{832A1D5A-5B32-1A1F-2B60-AC0219517B64}"/>
          </ac:spMkLst>
        </pc:spChg>
        <pc:cxnChg chg="add mod">
          <ac:chgData name="José Alberto Sousa Torres" userId="2784cfe513e17c0c" providerId="LiveId" clId="{46443669-731A-3C45-9CF3-DA10A5CBD394}" dt="2025-09-05T19:03:50.101" v="700" actId="1076"/>
          <ac:cxnSpMkLst>
            <pc:docMk/>
            <pc:sldMk cId="1067305246" sldId="4428"/>
            <ac:cxnSpMk id="12" creationId="{8718E61F-DA06-B39D-61F4-D01FD82E2FBE}"/>
          </ac:cxnSpMkLst>
        </pc:cxnChg>
        <pc:cxnChg chg="add mod">
          <ac:chgData name="José Alberto Sousa Torres" userId="2784cfe513e17c0c" providerId="LiveId" clId="{46443669-731A-3C45-9CF3-DA10A5CBD394}" dt="2025-09-05T19:04:50.199" v="718" actId="14100"/>
          <ac:cxnSpMkLst>
            <pc:docMk/>
            <pc:sldMk cId="1067305246" sldId="4428"/>
            <ac:cxnSpMk id="13" creationId="{D9DB3C8C-282B-E15A-46C5-694F097C2716}"/>
          </ac:cxnSpMkLst>
        </pc:cxnChg>
        <pc:cxnChg chg="add mod">
          <ac:chgData name="José Alberto Sousa Torres" userId="2784cfe513e17c0c" providerId="LiveId" clId="{46443669-731A-3C45-9CF3-DA10A5CBD394}" dt="2025-09-05T19:05:06.683" v="723" actId="1076"/>
          <ac:cxnSpMkLst>
            <pc:docMk/>
            <pc:sldMk cId="1067305246" sldId="4428"/>
            <ac:cxnSpMk id="16" creationId="{7C69C68B-9B98-8887-4983-2272A8AFC430}"/>
          </ac:cxnSpMkLst>
        </pc:cxnChg>
        <pc:cxnChg chg="add mod">
          <ac:chgData name="José Alberto Sousa Torres" userId="2784cfe513e17c0c" providerId="LiveId" clId="{46443669-731A-3C45-9CF3-DA10A5CBD394}" dt="2025-09-05T19:04:48.233" v="717" actId="1076"/>
          <ac:cxnSpMkLst>
            <pc:docMk/>
            <pc:sldMk cId="1067305246" sldId="4428"/>
            <ac:cxnSpMk id="20" creationId="{80983B99-DCE8-A53E-2905-850DE7AC94FE}"/>
          </ac:cxnSpMkLst>
        </pc:cxnChg>
        <pc:cxnChg chg="add mod">
          <ac:chgData name="José Alberto Sousa Torres" userId="2784cfe513e17c0c" providerId="LiveId" clId="{46443669-731A-3C45-9CF3-DA10A5CBD394}" dt="2025-09-05T19:05:10.116" v="724" actId="14100"/>
          <ac:cxnSpMkLst>
            <pc:docMk/>
            <pc:sldMk cId="1067305246" sldId="4428"/>
            <ac:cxnSpMk id="24" creationId="{89A4B7A9-620B-27FF-1072-910CD3F43D7F}"/>
          </ac:cxnSpMkLst>
        </pc:cxnChg>
        <pc:cxnChg chg="add mod">
          <ac:chgData name="José Alberto Sousa Torres" userId="2784cfe513e17c0c" providerId="LiveId" clId="{46443669-731A-3C45-9CF3-DA10A5CBD394}" dt="2025-09-05T19:05:27.148" v="730" actId="14100"/>
          <ac:cxnSpMkLst>
            <pc:docMk/>
            <pc:sldMk cId="1067305246" sldId="4428"/>
            <ac:cxnSpMk id="29" creationId="{0FBFF9AF-CA55-C02C-1737-610B76D26170}"/>
          </ac:cxnSpMkLst>
        </pc:cxnChg>
      </pc:sldChg>
      <pc:sldChg chg="del">
        <pc:chgData name="José Alberto Sousa Torres" userId="2784cfe513e17c0c" providerId="LiveId" clId="{46443669-731A-3C45-9CF3-DA10A5CBD394}" dt="2025-08-31T22:07:56.606" v="47" actId="2696"/>
        <pc:sldMkLst>
          <pc:docMk/>
          <pc:sldMk cId="3405611989" sldId="4428"/>
        </pc:sldMkLst>
      </pc:sldChg>
      <pc:sldChg chg="addSp delSp modSp add mod">
        <pc:chgData name="José Alberto Sousa Torres" userId="2784cfe513e17c0c" providerId="LiveId" clId="{46443669-731A-3C45-9CF3-DA10A5CBD394}" dt="2025-09-05T19:10:28.438" v="990"/>
        <pc:sldMkLst>
          <pc:docMk/>
          <pc:sldMk cId="3445721548" sldId="4429"/>
        </pc:sldMkLst>
        <pc:spChg chg="add mod">
          <ac:chgData name="José Alberto Sousa Torres" userId="2784cfe513e17c0c" providerId="LiveId" clId="{46443669-731A-3C45-9CF3-DA10A5CBD394}" dt="2025-09-05T19:08:26.607" v="968" actId="20577"/>
          <ac:spMkLst>
            <pc:docMk/>
            <pc:sldMk cId="3445721548" sldId="4429"/>
            <ac:spMk id="4" creationId="{859A0A23-A93E-5A3E-D891-02E11C872784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5" creationId="{A66170F5-0C4D-A63C-76BA-BAE2E6DB6194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6" creationId="{99ABFBD3-E55D-A604-E792-5CBDCD0B0361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7" creationId="{C73E8EA8-8C4D-19CE-D0B7-B9A18206F02B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8" creationId="{35C2069F-4625-71E0-BA2E-E0998C52D7E7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10" creationId="{86EC60D5-3459-94F2-0D7C-A37AB1621454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14" creationId="{FE44B0FD-613E-CF69-C270-D05E187D18FA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15" creationId="{E29100A7-EC5C-D6CE-CCEF-BFC0D3371FDB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17" creationId="{27E48CEE-5072-6E50-D078-8F4D9D52729B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25" creationId="{723B614B-3684-8122-37A2-52AA3EC32D3C}"/>
          </ac:spMkLst>
        </pc:spChg>
        <pc:spChg chg="del">
          <ac:chgData name="José Alberto Sousa Torres" userId="2784cfe513e17c0c" providerId="LiveId" clId="{46443669-731A-3C45-9CF3-DA10A5CBD394}" dt="2025-09-05T19:10:28.121" v="989" actId="478"/>
          <ac:spMkLst>
            <pc:docMk/>
            <pc:sldMk cId="3445721548" sldId="4429"/>
            <ac:spMk id="27" creationId="{D3453477-2B44-6782-8C1C-4C5668914206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28" creationId="{0982C268-59E5-F37B-5093-DD593DEEC1F5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30" creationId="{4E1A058A-3FE5-EA6C-3C0B-592053A020E4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31" creationId="{1D8AA4E3-60C5-655D-D620-F93824DFD84E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32" creationId="{0A1FD268-94D8-2C2C-104A-1D5721D9302E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33" creationId="{955BFC52-CD92-5536-4CF9-18E409B16646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34" creationId="{A9996B52-684A-58FC-6940-720F48ACCF9E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35" creationId="{51CA9FEF-EB4E-4367-CC08-6D7991148232}"/>
          </ac:spMkLst>
        </pc:spChg>
        <pc:spChg chg="add mod">
          <ac:chgData name="José Alberto Sousa Torres" userId="2784cfe513e17c0c" providerId="LiveId" clId="{46443669-731A-3C45-9CF3-DA10A5CBD394}" dt="2025-09-05T19:10:28.438" v="990"/>
          <ac:spMkLst>
            <pc:docMk/>
            <pc:sldMk cId="3445721548" sldId="4429"/>
            <ac:spMk id="37" creationId="{218D9ED3-08E8-B142-15FA-C555292DA92C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43" creationId="{51F8B8BD-23DB-C8DF-D139-CD75947F0AA4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46" creationId="{B1897452-348D-978B-E046-A2445BD18B58}"/>
          </ac:spMkLst>
        </pc:spChg>
        <pc:spChg chg="del">
          <ac:chgData name="José Alberto Sousa Torres" userId="2784cfe513e17c0c" providerId="LiveId" clId="{46443669-731A-3C45-9CF3-DA10A5CBD394}" dt="2025-09-05T19:10:26.467" v="988" actId="478"/>
          <ac:spMkLst>
            <pc:docMk/>
            <pc:sldMk cId="3445721548" sldId="4429"/>
            <ac:spMk id="49" creationId="{62EA00DF-3628-8BE1-9D9C-346AA55BDE54}"/>
          </ac:spMkLst>
        </pc:spChg>
        <pc:cxnChg chg="mod">
          <ac:chgData name="José Alberto Sousa Torres" userId="2784cfe513e17c0c" providerId="LiveId" clId="{46443669-731A-3C45-9CF3-DA10A5CBD394}" dt="2025-09-05T19:07:23.195" v="870" actId="14100"/>
          <ac:cxnSpMkLst>
            <pc:docMk/>
            <pc:sldMk cId="3445721548" sldId="4429"/>
            <ac:cxnSpMk id="29" creationId="{3C78391F-D8C5-1B89-1134-0EBE36EDF763}"/>
          </ac:cxnSpMkLst>
        </pc:cxnChg>
      </pc:sldChg>
      <pc:sldChg chg="modSp add mod">
        <pc:chgData name="José Alberto Sousa Torres" userId="2784cfe513e17c0c" providerId="LiveId" clId="{46443669-731A-3C45-9CF3-DA10A5CBD394}" dt="2025-09-05T19:10:18.618" v="987" actId="1076"/>
        <pc:sldMkLst>
          <pc:docMk/>
          <pc:sldMk cId="3358582301" sldId="4430"/>
        </pc:sldMkLst>
        <pc:spChg chg="mod">
          <ac:chgData name="José Alberto Sousa Torres" userId="2784cfe513e17c0c" providerId="LiveId" clId="{46443669-731A-3C45-9CF3-DA10A5CBD394}" dt="2025-09-05T19:09:46.704" v="984" actId="14100"/>
          <ac:spMkLst>
            <pc:docMk/>
            <pc:sldMk cId="3358582301" sldId="4430"/>
            <ac:spMk id="4" creationId="{9254BBF2-42C9-5AD2-567C-C46854D6D7F5}"/>
          </ac:spMkLst>
        </pc:spChg>
        <pc:spChg chg="mod">
          <ac:chgData name="José Alberto Sousa Torres" userId="2784cfe513e17c0c" providerId="LiveId" clId="{46443669-731A-3C45-9CF3-DA10A5CBD394}" dt="2025-09-05T19:10:16.301" v="986" actId="1076"/>
          <ac:spMkLst>
            <pc:docMk/>
            <pc:sldMk cId="3358582301" sldId="4430"/>
            <ac:spMk id="27" creationId="{0BB6D2B8-7D63-0D2F-5EEB-49F1F5C35D70}"/>
          </ac:spMkLst>
        </pc:spChg>
        <pc:spChg chg="mod">
          <ac:chgData name="José Alberto Sousa Torres" userId="2784cfe513e17c0c" providerId="LiveId" clId="{46443669-731A-3C45-9CF3-DA10A5CBD394}" dt="2025-09-05T19:10:18.618" v="987" actId="1076"/>
          <ac:spMkLst>
            <pc:docMk/>
            <pc:sldMk cId="3358582301" sldId="4430"/>
            <ac:spMk id="49" creationId="{7C81F761-75F2-C3D8-54FE-D471C601C9DF}"/>
          </ac:spMkLst>
        </pc:spChg>
        <pc:cxnChg chg="mod">
          <ac:chgData name="José Alberto Sousa Torres" userId="2784cfe513e17c0c" providerId="LiveId" clId="{46443669-731A-3C45-9CF3-DA10A5CBD394}" dt="2025-09-05T19:10:16.301" v="986" actId="1076"/>
          <ac:cxnSpMkLst>
            <pc:docMk/>
            <pc:sldMk cId="3358582301" sldId="4430"/>
            <ac:cxnSpMk id="29" creationId="{57AB95C5-91B3-B432-C1C1-76D1F1F79AF5}"/>
          </ac:cxnSpMkLst>
        </pc:cxnChg>
      </pc:sldChg>
      <pc:sldChg chg="del">
        <pc:chgData name="José Alberto Sousa Torres" userId="2784cfe513e17c0c" providerId="LiveId" clId="{46443669-731A-3C45-9CF3-DA10A5CBD394}" dt="2025-08-31T22:07:56.570" v="23" actId="2696"/>
        <pc:sldMkLst>
          <pc:docMk/>
          <pc:sldMk cId="3801655559" sldId="4430"/>
        </pc:sldMkLst>
      </pc:sldChg>
      <pc:sldChg chg="del">
        <pc:chgData name="José Alberto Sousa Torres" userId="2784cfe513e17c0c" providerId="LiveId" clId="{46443669-731A-3C45-9CF3-DA10A5CBD394}" dt="2025-08-31T22:07:56.562" v="16" actId="2696"/>
        <pc:sldMkLst>
          <pc:docMk/>
          <pc:sldMk cId="1211420726" sldId="4431"/>
        </pc:sldMkLst>
      </pc:sldChg>
      <pc:sldChg chg="modSp add mod">
        <pc:chgData name="José Alberto Sousa Torres" userId="2784cfe513e17c0c" providerId="LiveId" clId="{46443669-731A-3C45-9CF3-DA10A5CBD394}" dt="2025-09-05T19:13:18.886" v="1055"/>
        <pc:sldMkLst>
          <pc:docMk/>
          <pc:sldMk cId="4183187785" sldId="4431"/>
        </pc:sldMkLst>
        <pc:spChg chg="mod">
          <ac:chgData name="José Alberto Sousa Torres" userId="2784cfe513e17c0c" providerId="LiveId" clId="{46443669-731A-3C45-9CF3-DA10A5CBD394}" dt="2025-09-05T19:13:18.886" v="1055"/>
          <ac:spMkLst>
            <pc:docMk/>
            <pc:sldMk cId="4183187785" sldId="4431"/>
            <ac:spMk id="4" creationId="{D47F9FE2-AF42-D7C8-4BB4-6F47682FA0BA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6" creationId="{DDBB5718-5930-435D-7B61-9D67D2EE75CF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7" creationId="{A33B1723-4788-0E34-2836-EFC5EAE7CE38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9" creationId="{63C1132C-C106-2883-22D2-018A9D72E632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10" creationId="{FE1BF6C1-28FB-BFC4-3DDE-383983A93374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27" creationId="{DADCAF38-1845-A5BA-A69A-2AA00DBD174D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32" creationId="{1CF25E2A-DA39-2AD1-6FF8-EC411CDF1995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33" creationId="{07B6BF82-9675-6FA3-D638-37BDBAAE7D9A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34" creationId="{3291ED57-E31F-1A6D-CF0D-C16E68E0D3B3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43" creationId="{FAD35FD0-E8F0-AC7D-ECE0-6FDED60DEF43}"/>
          </ac:spMkLst>
        </pc:spChg>
        <pc:spChg chg="mod">
          <ac:chgData name="José Alberto Sousa Torres" userId="2784cfe513e17c0c" providerId="LiveId" clId="{46443669-731A-3C45-9CF3-DA10A5CBD394}" dt="2025-09-05T19:11:42.678" v="1026" actId="1037"/>
          <ac:spMkLst>
            <pc:docMk/>
            <pc:sldMk cId="4183187785" sldId="4431"/>
            <ac:spMk id="46" creationId="{F02B92E9-E197-E577-6548-042E49E142E5}"/>
          </ac:spMkLst>
        </pc:spChg>
      </pc:sldChg>
      <pc:sldChg chg="addSp delSp modSp add mod">
        <pc:chgData name="José Alberto Sousa Torres" userId="2784cfe513e17c0c" providerId="LiveId" clId="{46443669-731A-3C45-9CF3-DA10A5CBD394}" dt="2025-09-05T19:14:53.095" v="1125" actId="20577"/>
        <pc:sldMkLst>
          <pc:docMk/>
          <pc:sldMk cId="1801172820" sldId="4432"/>
        </pc:sldMkLst>
        <pc:spChg chg="mod">
          <ac:chgData name="José Alberto Sousa Torres" userId="2784cfe513e17c0c" providerId="LiveId" clId="{46443669-731A-3C45-9CF3-DA10A5CBD394}" dt="2025-09-05T19:14:13.942" v="1114" actId="1076"/>
          <ac:spMkLst>
            <pc:docMk/>
            <pc:sldMk cId="1801172820" sldId="4432"/>
            <ac:spMk id="4" creationId="{01FD9056-559B-7C54-1C85-58E925D1D0CC}"/>
          </ac:spMkLst>
        </pc:spChg>
        <pc:spChg chg="add mod">
          <ac:chgData name="José Alberto Sousa Torres" userId="2784cfe513e17c0c" providerId="LiveId" clId="{46443669-731A-3C45-9CF3-DA10A5CBD394}" dt="2025-09-05T19:14:53.095" v="1125" actId="20577"/>
          <ac:spMkLst>
            <pc:docMk/>
            <pc:sldMk cId="1801172820" sldId="4432"/>
            <ac:spMk id="19" creationId="{7E3B8833-771C-2FFC-B2EF-9FA43CE80544}"/>
          </ac:spMkLst>
        </pc:spChg>
        <pc:spChg chg="del">
          <ac:chgData name="José Alberto Sousa Torres" userId="2784cfe513e17c0c" providerId="LiveId" clId="{46443669-731A-3C45-9CF3-DA10A5CBD394}" dt="2025-09-05T19:13:52.254" v="1059" actId="478"/>
          <ac:spMkLst>
            <pc:docMk/>
            <pc:sldMk cId="1801172820" sldId="4432"/>
            <ac:spMk id="27" creationId="{C3FABF17-2855-9648-B323-49D21ED89B1B}"/>
          </ac:spMkLst>
        </pc:spChg>
        <pc:spChg chg="mod">
          <ac:chgData name="José Alberto Sousa Torres" userId="2784cfe513e17c0c" providerId="LiveId" clId="{46443669-731A-3C45-9CF3-DA10A5CBD394}" dt="2025-09-05T19:14:47.957" v="1122" actId="1076"/>
          <ac:spMkLst>
            <pc:docMk/>
            <pc:sldMk cId="1801172820" sldId="4432"/>
            <ac:spMk id="33" creationId="{E69B812F-5CF5-49B6-5979-141590ECDFC9}"/>
          </ac:spMkLst>
        </pc:spChg>
        <pc:spChg chg="mod">
          <ac:chgData name="José Alberto Sousa Torres" userId="2784cfe513e17c0c" providerId="LiveId" clId="{46443669-731A-3C45-9CF3-DA10A5CBD394}" dt="2025-09-05T19:13:47.778" v="1058" actId="1076"/>
          <ac:spMkLst>
            <pc:docMk/>
            <pc:sldMk cId="1801172820" sldId="4432"/>
            <ac:spMk id="34" creationId="{32292B29-F1F2-E59F-24B0-70C32048BED1}"/>
          </ac:spMkLst>
        </pc:spChg>
        <pc:spChg chg="del">
          <ac:chgData name="José Alberto Sousa Torres" userId="2784cfe513e17c0c" providerId="LiveId" clId="{46443669-731A-3C45-9CF3-DA10A5CBD394}" dt="2025-09-05T19:13:52.254" v="1059" actId="478"/>
          <ac:spMkLst>
            <pc:docMk/>
            <pc:sldMk cId="1801172820" sldId="4432"/>
            <ac:spMk id="43" creationId="{7A8D007E-BD5D-E5ED-B287-042C415E54CC}"/>
          </ac:spMkLst>
        </pc:spChg>
        <pc:spChg chg="mod">
          <ac:chgData name="José Alberto Sousa Torres" userId="2784cfe513e17c0c" providerId="LiveId" clId="{46443669-731A-3C45-9CF3-DA10A5CBD394}" dt="2025-09-05T19:14:41.150" v="1121" actId="1076"/>
          <ac:spMkLst>
            <pc:docMk/>
            <pc:sldMk cId="1801172820" sldId="4432"/>
            <ac:spMk id="46" creationId="{824885AF-E193-4598-14F1-B88FB76B5E83}"/>
          </ac:spMkLst>
        </pc:spChg>
        <pc:spChg chg="del">
          <ac:chgData name="José Alberto Sousa Torres" userId="2784cfe513e17c0c" providerId="LiveId" clId="{46443669-731A-3C45-9CF3-DA10A5CBD394}" dt="2025-09-05T19:13:52.254" v="1059" actId="478"/>
          <ac:spMkLst>
            <pc:docMk/>
            <pc:sldMk cId="1801172820" sldId="4432"/>
            <ac:spMk id="49" creationId="{6CBCF1D7-2D63-AE07-C901-B3DC9529D471}"/>
          </ac:spMkLst>
        </pc:spChg>
        <pc:cxnChg chg="mod">
          <ac:chgData name="José Alberto Sousa Torres" userId="2784cfe513e17c0c" providerId="LiveId" clId="{46443669-731A-3C45-9CF3-DA10A5CBD394}" dt="2025-09-05T19:14:23.525" v="1115" actId="14100"/>
          <ac:cxnSpMkLst>
            <pc:docMk/>
            <pc:sldMk cId="1801172820" sldId="4432"/>
            <ac:cxnSpMk id="13" creationId="{72E1CC8D-519C-34D8-8993-F56BD3E07B8B}"/>
          </ac:cxnSpMkLst>
        </pc:cxnChg>
        <pc:cxnChg chg="add mod">
          <ac:chgData name="José Alberto Sousa Torres" userId="2784cfe513e17c0c" providerId="LiveId" clId="{46443669-731A-3C45-9CF3-DA10A5CBD394}" dt="2025-09-05T19:14:38.475" v="1120" actId="14100"/>
          <ac:cxnSpMkLst>
            <pc:docMk/>
            <pc:sldMk cId="1801172820" sldId="4432"/>
            <ac:cxnSpMk id="15" creationId="{959C7825-C67D-7337-F621-A0F7BAA6FEAC}"/>
          </ac:cxnSpMkLst>
        </pc:cxnChg>
        <pc:cxnChg chg="mod">
          <ac:chgData name="José Alberto Sousa Torres" userId="2784cfe513e17c0c" providerId="LiveId" clId="{46443669-731A-3C45-9CF3-DA10A5CBD394}" dt="2025-09-05T19:14:26.023" v="1116" actId="14100"/>
          <ac:cxnSpMkLst>
            <pc:docMk/>
            <pc:sldMk cId="1801172820" sldId="4432"/>
            <ac:cxnSpMk id="16" creationId="{69164E46-E7A6-7146-EB86-0F21BF232320}"/>
          </ac:cxnSpMkLst>
        </pc:cxnChg>
        <pc:cxnChg chg="mod">
          <ac:chgData name="José Alberto Sousa Torres" userId="2784cfe513e17c0c" providerId="LiveId" clId="{46443669-731A-3C45-9CF3-DA10A5CBD394}" dt="2025-09-05T19:14:30.975" v="1117" actId="14100"/>
          <ac:cxnSpMkLst>
            <pc:docMk/>
            <pc:sldMk cId="1801172820" sldId="4432"/>
            <ac:cxnSpMk id="24" creationId="{632958C5-B95D-9CCB-8504-B50F7305029D}"/>
          </ac:cxnSpMkLst>
        </pc:cxnChg>
        <pc:cxnChg chg="del mod">
          <ac:chgData name="José Alberto Sousa Torres" userId="2784cfe513e17c0c" providerId="LiveId" clId="{46443669-731A-3C45-9CF3-DA10A5CBD394}" dt="2025-09-05T19:13:52.254" v="1059" actId="478"/>
          <ac:cxnSpMkLst>
            <pc:docMk/>
            <pc:sldMk cId="1801172820" sldId="4432"/>
            <ac:cxnSpMk id="29" creationId="{CA8BB94B-7E89-9E09-FFF7-2518F1F8EC94}"/>
          </ac:cxnSpMkLst>
        </pc:cxnChg>
      </pc:sldChg>
      <pc:sldChg chg="del">
        <pc:chgData name="José Alberto Sousa Torres" userId="2784cfe513e17c0c" providerId="LiveId" clId="{46443669-731A-3C45-9CF3-DA10A5CBD394}" dt="2025-08-31T22:07:56.593" v="39" actId="2696"/>
        <pc:sldMkLst>
          <pc:docMk/>
          <pc:sldMk cId="1464349231" sldId="4433"/>
        </pc:sldMkLst>
      </pc:sldChg>
      <pc:sldChg chg="addSp delSp modSp add mod modAnim">
        <pc:chgData name="José Alberto Sousa Torres" userId="2784cfe513e17c0c" providerId="LiveId" clId="{46443669-731A-3C45-9CF3-DA10A5CBD394}" dt="2025-09-06T21:48:05.007" v="3837" actId="20577"/>
        <pc:sldMkLst>
          <pc:docMk/>
          <pc:sldMk cId="3319915024" sldId="4433"/>
        </pc:sldMkLst>
        <pc:spChg chg="mod">
          <ac:chgData name="José Alberto Sousa Torres" userId="2784cfe513e17c0c" providerId="LiveId" clId="{46443669-731A-3C45-9CF3-DA10A5CBD394}" dt="2025-09-05T19:17:52.134" v="1166" actId="14100"/>
          <ac:spMkLst>
            <pc:docMk/>
            <pc:sldMk cId="3319915024" sldId="4433"/>
            <ac:spMk id="2" creationId="{4EEB8D59-0210-82AC-BC8A-9CA4E9493825}"/>
          </ac:spMkLst>
        </pc:spChg>
        <pc:spChg chg="del">
          <ac:chgData name="José Alberto Sousa Torres" userId="2784cfe513e17c0c" providerId="LiveId" clId="{46443669-731A-3C45-9CF3-DA10A5CBD394}" dt="2025-09-05T19:15:42.011" v="1127" actId="478"/>
          <ac:spMkLst>
            <pc:docMk/>
            <pc:sldMk cId="3319915024" sldId="4433"/>
            <ac:spMk id="4" creationId="{AF66AD41-7C38-C938-8AB0-285169B37AD2}"/>
          </ac:spMkLst>
        </pc:spChg>
        <pc:spChg chg="add mod">
          <ac:chgData name="José Alberto Sousa Torres" userId="2784cfe513e17c0c" providerId="LiveId" clId="{46443669-731A-3C45-9CF3-DA10A5CBD394}" dt="2025-09-06T21:48:05.007" v="3837" actId="20577"/>
          <ac:spMkLst>
            <pc:docMk/>
            <pc:sldMk cId="3319915024" sldId="4433"/>
            <ac:spMk id="5" creationId="{2A434F9F-D375-7317-2B33-FFACB915AFE4}"/>
          </ac:spMkLst>
        </pc:spChg>
        <pc:spChg chg="mod">
          <ac:chgData name="José Alberto Sousa Torres" userId="2784cfe513e17c0c" providerId="LiveId" clId="{46443669-731A-3C45-9CF3-DA10A5CBD394}" dt="2025-09-05T19:18:43.808" v="1167" actId="207"/>
          <ac:spMkLst>
            <pc:docMk/>
            <pc:sldMk cId="3319915024" sldId="4433"/>
            <ac:spMk id="6" creationId="{26F91E50-9797-29CA-CED4-F890C67CC878}"/>
          </ac:spMkLst>
        </pc:spChg>
        <pc:spChg chg="mod">
          <ac:chgData name="José Alberto Sousa Torres" userId="2784cfe513e17c0c" providerId="LiveId" clId="{46443669-731A-3C45-9CF3-DA10A5CBD394}" dt="2025-09-05T19:18:43.808" v="1167" actId="207"/>
          <ac:spMkLst>
            <pc:docMk/>
            <pc:sldMk cId="3319915024" sldId="4433"/>
            <ac:spMk id="7" creationId="{6B006B00-9A03-67E3-6EC5-63E0FF4DF8FD}"/>
          </ac:spMkLst>
        </pc:spChg>
        <pc:spChg chg="mod">
          <ac:chgData name="José Alberto Sousa Torres" userId="2784cfe513e17c0c" providerId="LiveId" clId="{46443669-731A-3C45-9CF3-DA10A5CBD394}" dt="2025-09-05T19:15:55.081" v="1131" actId="14100"/>
          <ac:spMkLst>
            <pc:docMk/>
            <pc:sldMk cId="3319915024" sldId="4433"/>
            <ac:spMk id="8" creationId="{81123DEE-95DC-E821-9264-EB402EC1F3AC}"/>
          </ac:spMkLst>
        </pc:spChg>
        <pc:spChg chg="mod">
          <ac:chgData name="José Alberto Sousa Torres" userId="2784cfe513e17c0c" providerId="LiveId" clId="{46443669-731A-3C45-9CF3-DA10A5CBD394}" dt="2025-09-05T19:15:55.081" v="1131" actId="14100"/>
          <ac:spMkLst>
            <pc:docMk/>
            <pc:sldMk cId="3319915024" sldId="4433"/>
            <ac:spMk id="9" creationId="{1506FD63-0428-7A23-DBCD-89D01EECBF42}"/>
          </ac:spMkLst>
        </pc:spChg>
        <pc:spChg chg="mod">
          <ac:chgData name="José Alberto Sousa Torres" userId="2784cfe513e17c0c" providerId="LiveId" clId="{46443669-731A-3C45-9CF3-DA10A5CBD394}" dt="2025-09-05T19:18:43.808" v="1167" actId="207"/>
          <ac:spMkLst>
            <pc:docMk/>
            <pc:sldMk cId="3319915024" sldId="4433"/>
            <ac:spMk id="10" creationId="{3C6A9FF1-4483-8197-AEA6-0D584EEC2760}"/>
          </ac:spMkLst>
        </pc:spChg>
        <pc:spChg chg="mod">
          <ac:chgData name="José Alberto Sousa Torres" userId="2784cfe513e17c0c" providerId="LiveId" clId="{46443669-731A-3C45-9CF3-DA10A5CBD394}" dt="2025-09-05T19:18:43.808" v="1167" actId="207"/>
          <ac:spMkLst>
            <pc:docMk/>
            <pc:sldMk cId="3319915024" sldId="4433"/>
            <ac:spMk id="27" creationId="{651E50D6-E963-0659-30B8-864F9869D82D}"/>
          </ac:spMkLst>
        </pc:spChg>
        <pc:spChg chg="mod">
          <ac:chgData name="José Alberto Sousa Torres" userId="2784cfe513e17c0c" providerId="LiveId" clId="{46443669-731A-3C45-9CF3-DA10A5CBD394}" dt="2025-09-05T19:15:55.081" v="1131" actId="14100"/>
          <ac:spMkLst>
            <pc:docMk/>
            <pc:sldMk cId="3319915024" sldId="4433"/>
            <ac:spMk id="33" creationId="{5EDAD0DA-2D45-5369-03CA-6FB777C2B1AA}"/>
          </ac:spMkLst>
        </pc:spChg>
        <pc:spChg chg="mod">
          <ac:chgData name="José Alberto Sousa Torres" userId="2784cfe513e17c0c" providerId="LiveId" clId="{46443669-731A-3C45-9CF3-DA10A5CBD394}" dt="2025-09-05T19:15:55.081" v="1131" actId="14100"/>
          <ac:spMkLst>
            <pc:docMk/>
            <pc:sldMk cId="3319915024" sldId="4433"/>
            <ac:spMk id="34" creationId="{607A1F02-4EE0-B558-BD71-2807FBAC2703}"/>
          </ac:spMkLst>
        </pc:spChg>
        <pc:spChg chg="mod">
          <ac:chgData name="José Alberto Sousa Torres" userId="2784cfe513e17c0c" providerId="LiveId" clId="{46443669-731A-3C45-9CF3-DA10A5CBD394}" dt="2025-09-05T19:15:55.081" v="1131" actId="14100"/>
          <ac:spMkLst>
            <pc:docMk/>
            <pc:sldMk cId="3319915024" sldId="4433"/>
            <ac:spMk id="43" creationId="{95C279FB-C45F-BD7D-A5FA-CE697CEBA624}"/>
          </ac:spMkLst>
        </pc:spChg>
        <pc:spChg chg="mod">
          <ac:chgData name="José Alberto Sousa Torres" userId="2784cfe513e17c0c" providerId="LiveId" clId="{46443669-731A-3C45-9CF3-DA10A5CBD394}" dt="2025-09-05T19:15:55.081" v="1131" actId="14100"/>
          <ac:spMkLst>
            <pc:docMk/>
            <pc:sldMk cId="3319915024" sldId="4433"/>
            <ac:spMk id="46" creationId="{26A58A41-A830-7979-EAEA-DA95A8725DFF}"/>
          </ac:spMkLst>
        </pc:spChg>
        <pc:spChg chg="mod">
          <ac:chgData name="José Alberto Sousa Torres" userId="2784cfe513e17c0c" providerId="LiveId" clId="{46443669-731A-3C45-9CF3-DA10A5CBD394}" dt="2025-09-05T19:16:04.105" v="1133" actId="1076"/>
          <ac:spMkLst>
            <pc:docMk/>
            <pc:sldMk cId="3319915024" sldId="4433"/>
            <ac:spMk id="49" creationId="{BFB9438B-A3E0-B103-605B-BA1DECDD07CF}"/>
          </ac:spMkLst>
        </pc:spChg>
        <pc:cxnChg chg="mod">
          <ac:chgData name="José Alberto Sousa Torres" userId="2784cfe513e17c0c" providerId="LiveId" clId="{46443669-731A-3C45-9CF3-DA10A5CBD394}" dt="2025-09-05T19:16:06.655" v="1134" actId="14100"/>
          <ac:cxnSpMkLst>
            <pc:docMk/>
            <pc:sldMk cId="3319915024" sldId="4433"/>
            <ac:cxnSpMk id="29" creationId="{C29F5058-9EB4-B9F1-F616-4C4EB2A0C55C}"/>
          </ac:cxnSpMkLst>
        </pc:cxnChg>
      </pc:sldChg>
      <pc:sldChg chg="addSp delSp modSp add mod">
        <pc:chgData name="José Alberto Sousa Torres" userId="2784cfe513e17c0c" providerId="LiveId" clId="{46443669-731A-3C45-9CF3-DA10A5CBD394}" dt="2025-09-05T19:24:08.304" v="1211" actId="14100"/>
        <pc:sldMkLst>
          <pc:docMk/>
          <pc:sldMk cId="1349037996" sldId="4434"/>
        </pc:sldMkLst>
        <pc:spChg chg="del">
          <ac:chgData name="José Alberto Sousa Torres" userId="2784cfe513e17c0c" providerId="LiveId" clId="{46443669-731A-3C45-9CF3-DA10A5CBD394}" dt="2025-09-05T19:21:37.175" v="1169" actId="478"/>
          <ac:spMkLst>
            <pc:docMk/>
            <pc:sldMk cId="1349037996" sldId="4434"/>
            <ac:spMk id="8" creationId="{8054AB82-5EBD-753C-8BB2-8438D722E192}"/>
          </ac:spMkLst>
        </pc:spChg>
        <pc:spChg chg="del">
          <ac:chgData name="José Alberto Sousa Torres" userId="2784cfe513e17c0c" providerId="LiveId" clId="{46443669-731A-3C45-9CF3-DA10A5CBD394}" dt="2025-09-05T19:21:37.175" v="1169" actId="478"/>
          <ac:spMkLst>
            <pc:docMk/>
            <pc:sldMk cId="1349037996" sldId="4434"/>
            <ac:spMk id="9" creationId="{BF7D8BC4-54DC-9ABF-2639-4628085676DC}"/>
          </ac:spMkLst>
        </pc:spChg>
        <pc:spChg chg="mod">
          <ac:chgData name="José Alberto Sousa Torres" userId="2784cfe513e17c0c" providerId="LiveId" clId="{46443669-731A-3C45-9CF3-DA10A5CBD394}" dt="2025-09-05T19:23:16.623" v="1197" actId="1076"/>
          <ac:spMkLst>
            <pc:docMk/>
            <pc:sldMk cId="1349037996" sldId="4434"/>
            <ac:spMk id="27" creationId="{BDFD8C11-E4CB-60C2-F0C4-DC52B19B0B68}"/>
          </ac:spMkLst>
        </pc:spChg>
        <pc:spChg chg="mod">
          <ac:chgData name="José Alberto Sousa Torres" userId="2784cfe513e17c0c" providerId="LiveId" clId="{46443669-731A-3C45-9CF3-DA10A5CBD394}" dt="2025-09-05T19:23:55.382" v="1204" actId="20577"/>
          <ac:spMkLst>
            <pc:docMk/>
            <pc:sldMk cId="1349037996" sldId="4434"/>
            <ac:spMk id="33" creationId="{CA9C4517-AEC6-FD08-FBB2-5DBF190E507F}"/>
          </ac:spMkLst>
        </pc:spChg>
        <pc:spChg chg="mod">
          <ac:chgData name="José Alberto Sousa Torres" userId="2784cfe513e17c0c" providerId="LiveId" clId="{46443669-731A-3C45-9CF3-DA10A5CBD394}" dt="2025-09-05T19:22:28.920" v="1176" actId="20577"/>
          <ac:spMkLst>
            <pc:docMk/>
            <pc:sldMk cId="1349037996" sldId="4434"/>
            <ac:spMk id="34" creationId="{0966E9D5-FF2B-5918-1C5A-8235DF8260E1}"/>
          </ac:spMkLst>
        </pc:spChg>
        <pc:spChg chg="add mod">
          <ac:chgData name="José Alberto Sousa Torres" userId="2784cfe513e17c0c" providerId="LiveId" clId="{46443669-731A-3C45-9CF3-DA10A5CBD394}" dt="2025-09-05T19:24:03.038" v="1210" actId="14100"/>
          <ac:spMkLst>
            <pc:docMk/>
            <pc:sldMk cId="1349037996" sldId="4434"/>
            <ac:spMk id="37" creationId="{8975C107-D6D2-44F2-C0A3-99D2AA8C79CD}"/>
          </ac:spMkLst>
        </pc:spChg>
        <pc:spChg chg="del">
          <ac:chgData name="José Alberto Sousa Torres" userId="2784cfe513e17c0c" providerId="LiveId" clId="{46443669-731A-3C45-9CF3-DA10A5CBD394}" dt="2025-09-05T19:22:49.062" v="1188" actId="478"/>
          <ac:spMkLst>
            <pc:docMk/>
            <pc:sldMk cId="1349037996" sldId="4434"/>
            <ac:spMk id="43" creationId="{054B2106-0180-F605-E990-A4B3B6E8DE5A}"/>
          </ac:spMkLst>
        </pc:spChg>
        <pc:spChg chg="mod">
          <ac:chgData name="José Alberto Sousa Torres" userId="2784cfe513e17c0c" providerId="LiveId" clId="{46443669-731A-3C45-9CF3-DA10A5CBD394}" dt="2025-09-05T19:23:48.788" v="1202" actId="1076"/>
          <ac:spMkLst>
            <pc:docMk/>
            <pc:sldMk cId="1349037996" sldId="4434"/>
            <ac:spMk id="46" creationId="{3B93CA81-6942-F56F-2AE6-4950F2209CFE}"/>
          </ac:spMkLst>
        </pc:spChg>
        <pc:cxnChg chg="mod">
          <ac:chgData name="José Alberto Sousa Torres" userId="2784cfe513e17c0c" providerId="LiveId" clId="{46443669-731A-3C45-9CF3-DA10A5CBD394}" dt="2025-09-05T19:22:46.392" v="1187" actId="14100"/>
          <ac:cxnSpMkLst>
            <pc:docMk/>
            <pc:sldMk cId="1349037996" sldId="4434"/>
            <ac:cxnSpMk id="13" creationId="{72A12A98-F97B-D102-3A39-A293D3DCBBC0}"/>
          </ac:cxnSpMkLst>
        </pc:cxnChg>
        <pc:cxnChg chg="mod">
          <ac:chgData name="José Alberto Sousa Torres" userId="2784cfe513e17c0c" providerId="LiveId" clId="{46443669-731A-3C45-9CF3-DA10A5CBD394}" dt="2025-09-05T19:22:18.907" v="1174" actId="14100"/>
          <ac:cxnSpMkLst>
            <pc:docMk/>
            <pc:sldMk cId="1349037996" sldId="4434"/>
            <ac:cxnSpMk id="16" creationId="{198D5A7E-72BB-9244-F1DF-DBCFF2F7FC65}"/>
          </ac:cxnSpMkLst>
        </pc:cxnChg>
        <pc:cxnChg chg="del mod">
          <ac:chgData name="José Alberto Sousa Torres" userId="2784cfe513e17c0c" providerId="LiveId" clId="{46443669-731A-3C45-9CF3-DA10A5CBD394}" dt="2025-09-05T19:22:41.987" v="1186" actId="478"/>
          <ac:cxnSpMkLst>
            <pc:docMk/>
            <pc:sldMk cId="1349037996" sldId="4434"/>
            <ac:cxnSpMk id="20" creationId="{33965BC9-42D2-E9EB-E7F0-1A4D17EB92C4}"/>
          </ac:cxnSpMkLst>
        </pc:cxnChg>
        <pc:cxnChg chg="add mod">
          <ac:chgData name="José Alberto Sousa Torres" userId="2784cfe513e17c0c" providerId="LiveId" clId="{46443669-731A-3C45-9CF3-DA10A5CBD394}" dt="2025-09-05T19:24:08.304" v="1211" actId="14100"/>
          <ac:cxnSpMkLst>
            <pc:docMk/>
            <pc:sldMk cId="1349037996" sldId="4434"/>
            <ac:cxnSpMk id="22" creationId="{60B83EEC-1BC4-4A76-7ACE-67815616941B}"/>
          </ac:cxnSpMkLst>
        </pc:cxnChg>
        <pc:cxnChg chg="mod">
          <ac:chgData name="José Alberto Sousa Torres" userId="2784cfe513e17c0c" providerId="LiveId" clId="{46443669-731A-3C45-9CF3-DA10A5CBD394}" dt="2025-09-05T19:23:21.622" v="1199" actId="14100"/>
          <ac:cxnSpMkLst>
            <pc:docMk/>
            <pc:sldMk cId="1349037996" sldId="4434"/>
            <ac:cxnSpMk id="24" creationId="{A48A320D-D6CE-DE32-5895-CD55E3AD5381}"/>
          </ac:cxnSpMkLst>
        </pc:cxnChg>
        <pc:cxnChg chg="mod">
          <ac:chgData name="José Alberto Sousa Torres" userId="2784cfe513e17c0c" providerId="LiveId" clId="{46443669-731A-3C45-9CF3-DA10A5CBD394}" dt="2025-09-05T19:23:39.505" v="1201" actId="14100"/>
          <ac:cxnSpMkLst>
            <pc:docMk/>
            <pc:sldMk cId="1349037996" sldId="4434"/>
            <ac:cxnSpMk id="29" creationId="{E985C73E-D9D5-001A-E1BA-B814D091C6DA}"/>
          </ac:cxnSpMkLst>
        </pc:cxnChg>
      </pc:sldChg>
      <pc:sldChg chg="del">
        <pc:chgData name="José Alberto Sousa Torres" userId="2784cfe513e17c0c" providerId="LiveId" clId="{46443669-731A-3C45-9CF3-DA10A5CBD394}" dt="2025-08-31T22:07:56.565" v="19" actId="2696"/>
        <pc:sldMkLst>
          <pc:docMk/>
          <pc:sldMk cId="1580530942" sldId="4434"/>
        </pc:sldMkLst>
      </pc:sldChg>
      <pc:sldChg chg="modSp add mod modAnim">
        <pc:chgData name="José Alberto Sousa Torres" userId="2784cfe513e17c0c" providerId="LiveId" clId="{46443669-731A-3C45-9CF3-DA10A5CBD394}" dt="2025-09-05T19:28:38.837" v="1250"/>
        <pc:sldMkLst>
          <pc:docMk/>
          <pc:sldMk cId="3689467224" sldId="4435"/>
        </pc:sldMkLst>
        <pc:spChg chg="mod">
          <ac:chgData name="José Alberto Sousa Torres" userId="2784cfe513e17c0c" providerId="LiveId" clId="{46443669-731A-3C45-9CF3-DA10A5CBD394}" dt="2025-09-05T19:28:38.837" v="1250"/>
          <ac:spMkLst>
            <pc:docMk/>
            <pc:sldMk cId="3689467224" sldId="4435"/>
            <ac:spMk id="5" creationId="{8D274F57-3B80-3742-C68F-56520B19C42F}"/>
          </ac:spMkLst>
        </pc:spChg>
      </pc:sldChg>
      <pc:sldChg chg="del">
        <pc:chgData name="José Alberto Sousa Torres" userId="2784cfe513e17c0c" providerId="LiveId" clId="{46443669-731A-3C45-9CF3-DA10A5CBD394}" dt="2025-08-31T22:07:56.572" v="25" actId="2696"/>
        <pc:sldMkLst>
          <pc:docMk/>
          <pc:sldMk cId="2132609874" sldId="4436"/>
        </pc:sldMkLst>
      </pc:sldChg>
      <pc:sldChg chg="modSp add mod modAnim">
        <pc:chgData name="José Alberto Sousa Torres" userId="2784cfe513e17c0c" providerId="LiveId" clId="{46443669-731A-3C45-9CF3-DA10A5CBD394}" dt="2025-09-05T19:30:17.409" v="1279" actId="14100"/>
        <pc:sldMkLst>
          <pc:docMk/>
          <pc:sldMk cId="3291236165" sldId="4436"/>
        </pc:sldMkLst>
        <pc:spChg chg="mod">
          <ac:chgData name="José Alberto Sousa Torres" userId="2784cfe513e17c0c" providerId="LiveId" clId="{46443669-731A-3C45-9CF3-DA10A5CBD394}" dt="2025-09-05T19:30:17.409" v="1279" actId="14100"/>
          <ac:spMkLst>
            <pc:docMk/>
            <pc:sldMk cId="3291236165" sldId="4436"/>
            <ac:spMk id="5" creationId="{1361C67E-343E-6056-1CA5-E0FAB5E8F7E1}"/>
          </ac:spMkLst>
        </pc:spChg>
      </pc:sldChg>
      <pc:sldChg chg="addSp modSp add mod modAnim">
        <pc:chgData name="José Alberto Sousa Torres" userId="2784cfe513e17c0c" providerId="LiveId" clId="{46443669-731A-3C45-9CF3-DA10A5CBD394}" dt="2025-09-05T19:36:46.890" v="1326" actId="14100"/>
        <pc:sldMkLst>
          <pc:docMk/>
          <pc:sldMk cId="615598456" sldId="4437"/>
        </pc:sldMkLst>
        <pc:spChg chg="add mod">
          <ac:chgData name="José Alberto Sousa Torres" userId="2784cfe513e17c0c" providerId="LiveId" clId="{46443669-731A-3C45-9CF3-DA10A5CBD394}" dt="2025-09-05T19:36:46.890" v="1326" actId="14100"/>
          <ac:spMkLst>
            <pc:docMk/>
            <pc:sldMk cId="615598456" sldId="4437"/>
            <ac:spMk id="3" creationId="{0DA143FA-E5C5-F7D2-4F5E-48DB8A7EB89C}"/>
          </ac:spMkLst>
        </pc:spChg>
        <pc:spChg chg="mod">
          <ac:chgData name="José Alberto Sousa Torres" userId="2784cfe513e17c0c" providerId="LiveId" clId="{46443669-731A-3C45-9CF3-DA10A5CBD394}" dt="2025-09-05T19:36:36.425" v="1324" actId="1076"/>
          <ac:spMkLst>
            <pc:docMk/>
            <pc:sldMk cId="615598456" sldId="4437"/>
            <ac:spMk id="5" creationId="{6505E517-0673-3285-91CA-68FCE50F1B12}"/>
          </ac:spMkLst>
        </pc:spChg>
      </pc:sldChg>
      <pc:sldChg chg="del">
        <pc:chgData name="José Alberto Sousa Torres" userId="2784cfe513e17c0c" providerId="LiveId" clId="{46443669-731A-3C45-9CF3-DA10A5CBD394}" dt="2025-08-31T22:07:56.591" v="37" actId="2696"/>
        <pc:sldMkLst>
          <pc:docMk/>
          <pc:sldMk cId="972720462" sldId="4437"/>
        </pc:sldMkLst>
      </pc:sldChg>
      <pc:sldChg chg="addSp delSp modSp add mod delAnim modAnim">
        <pc:chgData name="José Alberto Sousa Torres" userId="2784cfe513e17c0c" providerId="LiveId" clId="{46443669-731A-3C45-9CF3-DA10A5CBD394}" dt="2025-09-05T19:46:11.445" v="1464" actId="167"/>
        <pc:sldMkLst>
          <pc:docMk/>
          <pc:sldMk cId="1263626902" sldId="4438"/>
        </pc:sldMkLst>
        <pc:spChg chg="add del mod">
          <ac:chgData name="José Alberto Sousa Torres" userId="2784cfe513e17c0c" providerId="LiveId" clId="{46443669-731A-3C45-9CF3-DA10A5CBD394}" dt="2025-09-05T19:43:10.411" v="1399" actId="478"/>
          <ac:spMkLst>
            <pc:docMk/>
            <pc:sldMk cId="1263626902" sldId="4438"/>
            <ac:spMk id="3" creationId="{C632925E-5243-554C-8051-8FEC5B145024}"/>
          </ac:spMkLst>
        </pc:spChg>
        <pc:spChg chg="del">
          <ac:chgData name="José Alberto Sousa Torres" userId="2784cfe513e17c0c" providerId="LiveId" clId="{46443669-731A-3C45-9CF3-DA10A5CBD394}" dt="2025-09-05T19:38:57.578" v="1336" actId="478"/>
          <ac:spMkLst>
            <pc:docMk/>
            <pc:sldMk cId="1263626902" sldId="4438"/>
            <ac:spMk id="4" creationId="{C8D2E4E8-BB50-51F6-DC6F-D0A64E158E5B}"/>
          </ac:spMkLst>
        </pc:spChg>
        <pc:spChg chg="add mod">
          <ac:chgData name="José Alberto Sousa Torres" userId="2784cfe513e17c0c" providerId="LiveId" clId="{46443669-731A-3C45-9CF3-DA10A5CBD394}" dt="2025-09-05T19:39:42.285" v="1341" actId="207"/>
          <ac:spMkLst>
            <pc:docMk/>
            <pc:sldMk cId="1263626902" sldId="4438"/>
            <ac:spMk id="5" creationId="{9C7C3FD3-33FD-BB6D-7E9C-41911387A2CA}"/>
          </ac:spMkLst>
        </pc:spChg>
        <pc:spChg chg="add del mod">
          <ac:chgData name="José Alberto Sousa Torres" userId="2784cfe513e17c0c" providerId="LiveId" clId="{46443669-731A-3C45-9CF3-DA10A5CBD394}" dt="2025-09-05T19:43:10.411" v="1399" actId="478"/>
          <ac:spMkLst>
            <pc:docMk/>
            <pc:sldMk cId="1263626902" sldId="4438"/>
            <ac:spMk id="11" creationId="{BBA2E7C3-0A2E-2031-4775-B768083A5D73}"/>
          </ac:spMkLst>
        </pc:spChg>
        <pc:spChg chg="add del mod">
          <ac:chgData name="José Alberto Sousa Torres" userId="2784cfe513e17c0c" providerId="LiveId" clId="{46443669-731A-3C45-9CF3-DA10A5CBD394}" dt="2025-09-05T19:43:10.411" v="1399" actId="478"/>
          <ac:spMkLst>
            <pc:docMk/>
            <pc:sldMk cId="1263626902" sldId="4438"/>
            <ac:spMk id="14" creationId="{81248F6E-59C5-4D63-82E4-EC131487CD1D}"/>
          </ac:spMkLst>
        </pc:spChg>
        <pc:spChg chg="add del mod">
          <ac:chgData name="José Alberto Sousa Torres" userId="2784cfe513e17c0c" providerId="LiveId" clId="{46443669-731A-3C45-9CF3-DA10A5CBD394}" dt="2025-09-05T19:43:10.411" v="1399" actId="478"/>
          <ac:spMkLst>
            <pc:docMk/>
            <pc:sldMk cId="1263626902" sldId="4438"/>
            <ac:spMk id="15" creationId="{DD139849-469C-B5D2-2E1E-02597231C383}"/>
          </ac:spMkLst>
        </pc:spChg>
        <pc:spChg chg="add del mod">
          <ac:chgData name="José Alberto Sousa Torres" userId="2784cfe513e17c0c" providerId="LiveId" clId="{46443669-731A-3C45-9CF3-DA10A5CBD394}" dt="2025-09-05T19:43:12.368" v="1401" actId="478"/>
          <ac:spMkLst>
            <pc:docMk/>
            <pc:sldMk cId="1263626902" sldId="4438"/>
            <ac:spMk id="17" creationId="{0E08020B-F87D-C4D8-E2C7-E9EE8B88AE6F}"/>
          </ac:spMkLst>
        </pc:spChg>
        <pc:spChg chg="add del mod">
          <ac:chgData name="José Alberto Sousa Torres" userId="2784cfe513e17c0c" providerId="LiveId" clId="{46443669-731A-3C45-9CF3-DA10A5CBD394}" dt="2025-09-05T19:43:04.591" v="1397" actId="478"/>
          <ac:spMkLst>
            <pc:docMk/>
            <pc:sldMk cId="1263626902" sldId="4438"/>
            <ac:spMk id="18" creationId="{C37E746F-079B-7285-8033-16E581BBCB0A}"/>
          </ac:spMkLst>
        </pc:spChg>
        <pc:spChg chg="add del mod">
          <ac:chgData name="José Alberto Sousa Torres" userId="2784cfe513e17c0c" providerId="LiveId" clId="{46443669-731A-3C45-9CF3-DA10A5CBD394}" dt="2025-09-05T19:42:04.887" v="1381" actId="478"/>
          <ac:spMkLst>
            <pc:docMk/>
            <pc:sldMk cId="1263626902" sldId="4438"/>
            <ac:spMk id="19" creationId="{BEDF8EAE-070D-2E48-2D7D-027F5210AA4C}"/>
          </ac:spMkLst>
        </pc:spChg>
        <pc:spChg chg="add del mod">
          <ac:chgData name="José Alberto Sousa Torres" userId="2784cfe513e17c0c" providerId="LiveId" clId="{46443669-731A-3C45-9CF3-DA10A5CBD394}" dt="2025-09-05T19:42:09.455" v="1382" actId="478"/>
          <ac:spMkLst>
            <pc:docMk/>
            <pc:sldMk cId="1263626902" sldId="4438"/>
            <ac:spMk id="21" creationId="{47957B1C-88FD-493F-EEE2-D9A3D6C5F22E}"/>
          </ac:spMkLst>
        </pc:spChg>
        <pc:spChg chg="add mod">
          <ac:chgData name="José Alberto Sousa Torres" userId="2784cfe513e17c0c" providerId="LiveId" clId="{46443669-731A-3C45-9CF3-DA10A5CBD394}" dt="2025-09-05T19:46:04.879" v="1463" actId="167"/>
          <ac:spMkLst>
            <pc:docMk/>
            <pc:sldMk cId="1263626902" sldId="4438"/>
            <ac:spMk id="22" creationId="{4A0A5B43-FC7D-04CB-4AFE-C360B92932F5}"/>
          </ac:spMkLst>
        </pc:spChg>
        <pc:spChg chg="add del mod">
          <ac:chgData name="José Alberto Sousa Torres" userId="2784cfe513e17c0c" providerId="LiveId" clId="{46443669-731A-3C45-9CF3-DA10A5CBD394}" dt="2025-09-05T19:43:10.411" v="1399" actId="478"/>
          <ac:spMkLst>
            <pc:docMk/>
            <pc:sldMk cId="1263626902" sldId="4438"/>
            <ac:spMk id="23" creationId="{D99F76A4-548A-F4DB-8DBC-51C921B02F5E}"/>
          </ac:spMkLst>
        </pc:spChg>
        <pc:spChg chg="add del mod">
          <ac:chgData name="José Alberto Sousa Torres" userId="2784cfe513e17c0c" providerId="LiveId" clId="{46443669-731A-3C45-9CF3-DA10A5CBD394}" dt="2025-09-05T19:43:03.092" v="1396" actId="478"/>
          <ac:spMkLst>
            <pc:docMk/>
            <pc:sldMk cId="1263626902" sldId="4438"/>
            <ac:spMk id="25" creationId="{9B20886F-ECC0-3216-91FB-CEA006473C76}"/>
          </ac:spMkLst>
        </pc:spChg>
        <pc:spChg chg="add mod">
          <ac:chgData name="José Alberto Sousa Torres" userId="2784cfe513e17c0c" providerId="LiveId" clId="{46443669-731A-3C45-9CF3-DA10A5CBD394}" dt="2025-09-05T19:45:41.763" v="1454" actId="1038"/>
          <ac:spMkLst>
            <pc:docMk/>
            <pc:sldMk cId="1263626902" sldId="4438"/>
            <ac:spMk id="26" creationId="{A9CEEE71-3478-02CF-C8C6-4445B40DC33A}"/>
          </ac:spMkLst>
        </pc:spChg>
        <pc:spChg chg="add mod">
          <ac:chgData name="José Alberto Sousa Torres" userId="2784cfe513e17c0c" providerId="LiveId" clId="{46443669-731A-3C45-9CF3-DA10A5CBD394}" dt="2025-09-05T19:45:36.095" v="1448" actId="1035"/>
          <ac:spMkLst>
            <pc:docMk/>
            <pc:sldMk cId="1263626902" sldId="4438"/>
            <ac:spMk id="28" creationId="{E51526B3-D5C5-354F-0C59-0D7D20D5CD28}"/>
          </ac:spMkLst>
        </pc:spChg>
        <pc:spChg chg="add mod">
          <ac:chgData name="José Alberto Sousa Torres" userId="2784cfe513e17c0c" providerId="LiveId" clId="{46443669-731A-3C45-9CF3-DA10A5CBD394}" dt="2025-09-05T19:44:54.356" v="1433" actId="1076"/>
          <ac:spMkLst>
            <pc:docMk/>
            <pc:sldMk cId="1263626902" sldId="4438"/>
            <ac:spMk id="30" creationId="{83AF615A-C629-181E-F5D7-CB3AA08CF0CD}"/>
          </ac:spMkLst>
        </pc:spChg>
        <pc:spChg chg="add mod">
          <ac:chgData name="José Alberto Sousa Torres" userId="2784cfe513e17c0c" providerId="LiveId" clId="{46443669-731A-3C45-9CF3-DA10A5CBD394}" dt="2025-09-05T19:45:01.331" v="1435" actId="167"/>
          <ac:spMkLst>
            <pc:docMk/>
            <pc:sldMk cId="1263626902" sldId="4438"/>
            <ac:spMk id="31" creationId="{A2514499-930A-05D6-1A96-C706DECD985D}"/>
          </ac:spMkLst>
        </pc:spChg>
        <pc:spChg chg="add mod">
          <ac:chgData name="José Alberto Sousa Torres" userId="2784cfe513e17c0c" providerId="LiveId" clId="{46443669-731A-3C45-9CF3-DA10A5CBD394}" dt="2025-09-05T19:45:16.415" v="1440" actId="167"/>
          <ac:spMkLst>
            <pc:docMk/>
            <pc:sldMk cId="1263626902" sldId="4438"/>
            <ac:spMk id="35" creationId="{232F55D5-27AB-B356-E966-D5C45D7EAA0F}"/>
          </ac:spMkLst>
        </pc:spChg>
        <pc:spChg chg="add mod">
          <ac:chgData name="José Alberto Sousa Torres" userId="2784cfe513e17c0c" providerId="LiveId" clId="{46443669-731A-3C45-9CF3-DA10A5CBD394}" dt="2025-09-05T19:45:28.299" v="1445" actId="167"/>
          <ac:spMkLst>
            <pc:docMk/>
            <pc:sldMk cId="1263626902" sldId="4438"/>
            <ac:spMk id="36" creationId="{82BCC415-581F-EA0E-B7DF-9ECE9FBE6D1D}"/>
          </ac:spMkLst>
        </pc:spChg>
        <pc:spChg chg="add mod">
          <ac:chgData name="José Alberto Sousa Torres" userId="2784cfe513e17c0c" providerId="LiveId" clId="{46443669-731A-3C45-9CF3-DA10A5CBD394}" dt="2025-09-05T19:45:54.823" v="1462" actId="167"/>
          <ac:spMkLst>
            <pc:docMk/>
            <pc:sldMk cId="1263626902" sldId="4438"/>
            <ac:spMk id="37" creationId="{6D40C780-1E5A-F65F-967E-142BE8623027}"/>
          </ac:spMkLst>
        </pc:spChg>
        <pc:spChg chg="mod">
          <ac:chgData name="José Alberto Sousa Torres" userId="2784cfe513e17c0c" providerId="LiveId" clId="{46443669-731A-3C45-9CF3-DA10A5CBD394}" dt="2025-09-05T19:41:18.598" v="1369" actId="1076"/>
          <ac:spMkLst>
            <pc:docMk/>
            <pc:sldMk cId="1263626902" sldId="4438"/>
            <ac:spMk id="43" creationId="{49E4F146-61C6-5A59-F262-7D792467D0AC}"/>
          </ac:spMkLst>
        </pc:spChg>
        <pc:cxnChg chg="mod">
          <ac:chgData name="José Alberto Sousa Torres" userId="2784cfe513e17c0c" providerId="LiveId" clId="{46443669-731A-3C45-9CF3-DA10A5CBD394}" dt="2025-09-05T19:46:11.445" v="1464" actId="167"/>
          <ac:cxnSpMkLst>
            <pc:docMk/>
            <pc:sldMk cId="1263626902" sldId="4438"/>
            <ac:cxnSpMk id="12" creationId="{104CB57A-4856-A27A-9008-B1EDAC31AFB1}"/>
          </ac:cxnSpMkLst>
        </pc:cxnChg>
        <pc:cxnChg chg="mod">
          <ac:chgData name="José Alberto Sousa Torres" userId="2784cfe513e17c0c" providerId="LiveId" clId="{46443669-731A-3C45-9CF3-DA10A5CBD394}" dt="2025-09-05T19:46:04.879" v="1463" actId="167"/>
          <ac:cxnSpMkLst>
            <pc:docMk/>
            <pc:sldMk cId="1263626902" sldId="4438"/>
            <ac:cxnSpMk id="13" creationId="{953079A8-AA6F-74CD-EA4E-4DC49FC7959F}"/>
          </ac:cxnSpMkLst>
        </pc:cxnChg>
        <pc:cxnChg chg="mod">
          <ac:chgData name="José Alberto Sousa Torres" userId="2784cfe513e17c0c" providerId="LiveId" clId="{46443669-731A-3C45-9CF3-DA10A5CBD394}" dt="2025-09-05T19:46:04.879" v="1463" actId="167"/>
          <ac:cxnSpMkLst>
            <pc:docMk/>
            <pc:sldMk cId="1263626902" sldId="4438"/>
            <ac:cxnSpMk id="16" creationId="{C8CECEDA-42E5-6A77-5E1F-BA6FFF9472E4}"/>
          </ac:cxnSpMkLst>
        </pc:cxnChg>
        <pc:cxnChg chg="mod">
          <ac:chgData name="José Alberto Sousa Torres" userId="2784cfe513e17c0c" providerId="LiveId" clId="{46443669-731A-3C45-9CF3-DA10A5CBD394}" dt="2025-09-05T19:46:04.879" v="1463" actId="167"/>
          <ac:cxnSpMkLst>
            <pc:docMk/>
            <pc:sldMk cId="1263626902" sldId="4438"/>
            <ac:cxnSpMk id="24" creationId="{900F7764-4C25-6BD9-1EEF-E7971CA72C7E}"/>
          </ac:cxnSpMkLst>
        </pc:cxnChg>
        <pc:cxnChg chg="mod">
          <ac:chgData name="José Alberto Sousa Torres" userId="2784cfe513e17c0c" providerId="LiveId" clId="{46443669-731A-3C45-9CF3-DA10A5CBD394}" dt="2025-09-05T19:46:04.879" v="1463" actId="167"/>
          <ac:cxnSpMkLst>
            <pc:docMk/>
            <pc:sldMk cId="1263626902" sldId="4438"/>
            <ac:cxnSpMk id="29" creationId="{9E7F9CFF-D6A7-7837-4E4B-849E3E464E60}"/>
          </ac:cxnSpMkLst>
        </pc:cxnChg>
      </pc:sldChg>
      <pc:sldChg chg="del">
        <pc:chgData name="José Alberto Sousa Torres" userId="2784cfe513e17c0c" providerId="LiveId" clId="{46443669-731A-3C45-9CF3-DA10A5CBD394}" dt="2025-08-31T22:07:56.594" v="40" actId="2696"/>
        <pc:sldMkLst>
          <pc:docMk/>
          <pc:sldMk cId="4191947223" sldId="4438"/>
        </pc:sldMkLst>
      </pc:sldChg>
      <pc:sldChg chg="modSp new mod modAnim">
        <pc:chgData name="José Alberto Sousa Torres" userId="2784cfe513e17c0c" providerId="LiveId" clId="{46443669-731A-3C45-9CF3-DA10A5CBD394}" dt="2025-09-06T21:57:05.576" v="3869"/>
        <pc:sldMkLst>
          <pc:docMk/>
          <pc:sldMk cId="839939720" sldId="4439"/>
        </pc:sldMkLst>
        <pc:spChg chg="mod">
          <ac:chgData name="José Alberto Sousa Torres" userId="2784cfe513e17c0c" providerId="LiveId" clId="{46443669-731A-3C45-9CF3-DA10A5CBD394}" dt="2025-09-06T21:57:01.491" v="3868" actId="20577"/>
          <ac:spMkLst>
            <pc:docMk/>
            <pc:sldMk cId="839939720" sldId="4439"/>
            <ac:spMk id="2" creationId="{9F4D0355-00E2-A821-EE7A-EF2943B95E57}"/>
          </ac:spMkLst>
        </pc:spChg>
        <pc:spChg chg="mod">
          <ac:chgData name="José Alberto Sousa Torres" userId="2784cfe513e17c0c" providerId="LiveId" clId="{46443669-731A-3C45-9CF3-DA10A5CBD394}" dt="2025-09-06T21:56:45.765" v="3848" actId="20577"/>
          <ac:spMkLst>
            <pc:docMk/>
            <pc:sldMk cId="839939720" sldId="4439"/>
            <ac:spMk id="3" creationId="{458747A8-A96A-8182-0B47-BA6B081E5C1C}"/>
          </ac:spMkLst>
        </pc:spChg>
      </pc:sldChg>
      <pc:sldChg chg="modSp add mod modAnim">
        <pc:chgData name="José Alberto Sousa Torres" userId="2784cfe513e17c0c" providerId="LiveId" clId="{46443669-731A-3C45-9CF3-DA10A5CBD394}" dt="2025-09-06T22:23:53.810" v="4676" actId="113"/>
        <pc:sldMkLst>
          <pc:docMk/>
          <pc:sldMk cId="1553229328" sldId="4440"/>
        </pc:sldMkLst>
        <pc:spChg chg="mod">
          <ac:chgData name="José Alberto Sousa Torres" userId="2784cfe513e17c0c" providerId="LiveId" clId="{46443669-731A-3C45-9CF3-DA10A5CBD394}" dt="2025-09-06T22:21:41.643" v="4660" actId="113"/>
          <ac:spMkLst>
            <pc:docMk/>
            <pc:sldMk cId="1553229328" sldId="4440"/>
            <ac:spMk id="2" creationId="{1F0F08D4-6521-8457-9C58-FA5B317C6177}"/>
          </ac:spMkLst>
        </pc:spChg>
        <pc:spChg chg="mod">
          <ac:chgData name="José Alberto Sousa Torres" userId="2784cfe513e17c0c" providerId="LiveId" clId="{46443669-731A-3C45-9CF3-DA10A5CBD394}" dt="2025-09-06T22:23:53.810" v="4676" actId="113"/>
          <ac:spMkLst>
            <pc:docMk/>
            <pc:sldMk cId="1553229328" sldId="4440"/>
            <ac:spMk id="3" creationId="{C6743C17-F4C7-9012-530B-B12AC084BC7D}"/>
          </ac:spMkLst>
        </pc:spChg>
      </pc:sldChg>
      <pc:sldChg chg="modSp new del mod">
        <pc:chgData name="José Alberto Sousa Torres" userId="2784cfe513e17c0c" providerId="LiveId" clId="{46443669-731A-3C45-9CF3-DA10A5CBD394}" dt="2025-09-05T20:11:47.546" v="2795" actId="2696"/>
        <pc:sldMkLst>
          <pc:docMk/>
          <pc:sldMk cId="2139736652" sldId="4440"/>
        </pc:sldMkLst>
        <pc:spChg chg="mod">
          <ac:chgData name="José Alberto Sousa Torres" userId="2784cfe513e17c0c" providerId="LiveId" clId="{46443669-731A-3C45-9CF3-DA10A5CBD394}" dt="2025-09-05T20:06:50.713" v="2794" actId="20577"/>
          <ac:spMkLst>
            <pc:docMk/>
            <pc:sldMk cId="2139736652" sldId="4440"/>
            <ac:spMk id="3" creationId="{DF1B5644-DB50-4180-8F1B-EB0B15C62AD4}"/>
          </ac:spMkLst>
        </pc:spChg>
      </pc:sldChg>
      <pc:sldChg chg="modSp add mod modAnim">
        <pc:chgData name="José Alberto Sousa Torres" userId="2784cfe513e17c0c" providerId="LiveId" clId="{46443669-731A-3C45-9CF3-DA10A5CBD394}" dt="2025-09-06T22:22:59.720" v="4670" actId="20577"/>
        <pc:sldMkLst>
          <pc:docMk/>
          <pc:sldMk cId="157435687" sldId="4441"/>
        </pc:sldMkLst>
        <pc:spChg chg="mod">
          <ac:chgData name="José Alberto Sousa Torres" userId="2784cfe513e17c0c" providerId="LiveId" clId="{46443669-731A-3C45-9CF3-DA10A5CBD394}" dt="2025-09-06T22:20:27.892" v="4650" actId="113"/>
          <ac:spMkLst>
            <pc:docMk/>
            <pc:sldMk cId="157435687" sldId="4441"/>
            <ac:spMk id="2" creationId="{06AA7271-DF41-BA91-2247-B04EEBE9AC06}"/>
          </ac:spMkLst>
        </pc:spChg>
        <pc:spChg chg="mod">
          <ac:chgData name="José Alberto Sousa Torres" userId="2784cfe513e17c0c" providerId="LiveId" clId="{46443669-731A-3C45-9CF3-DA10A5CBD394}" dt="2025-09-06T22:22:59.720" v="4670" actId="20577"/>
          <ac:spMkLst>
            <pc:docMk/>
            <pc:sldMk cId="157435687" sldId="4441"/>
            <ac:spMk id="3" creationId="{468A901D-EE5D-0E02-F335-ADAC8EB0AB7A}"/>
          </ac:spMkLst>
        </pc:spChg>
      </pc:sldChg>
      <pc:sldChg chg="new del">
        <pc:chgData name="José Alberto Sousa Torres" userId="2784cfe513e17c0c" providerId="LiveId" clId="{46443669-731A-3C45-9CF3-DA10A5CBD394}" dt="2025-09-05T20:12:46.363" v="2813" actId="680"/>
        <pc:sldMkLst>
          <pc:docMk/>
          <pc:sldMk cId="948722797" sldId="4441"/>
        </pc:sldMkLst>
      </pc:sldChg>
      <pc:sldChg chg="del">
        <pc:chgData name="José Alberto Sousa Torres" userId="2784cfe513e17c0c" providerId="LiveId" clId="{46443669-731A-3C45-9CF3-DA10A5CBD394}" dt="2025-08-31T22:07:56.564" v="18" actId="2696"/>
        <pc:sldMkLst>
          <pc:docMk/>
          <pc:sldMk cId="2145292405" sldId="4441"/>
        </pc:sldMkLst>
      </pc:sldChg>
      <pc:sldChg chg="add del">
        <pc:chgData name="José Alberto Sousa Torres" userId="2784cfe513e17c0c" providerId="LiveId" clId="{46443669-731A-3C45-9CF3-DA10A5CBD394}" dt="2025-09-06T20:18:30.063" v="2974" actId="2696"/>
        <pc:sldMkLst>
          <pc:docMk/>
          <pc:sldMk cId="278656837" sldId="4442"/>
        </pc:sldMkLst>
      </pc:sldChg>
      <pc:sldChg chg="del">
        <pc:chgData name="José Alberto Sousa Torres" userId="2784cfe513e17c0c" providerId="LiveId" clId="{46443669-731A-3C45-9CF3-DA10A5CBD394}" dt="2025-08-31T22:07:56.577" v="29" actId="2696"/>
        <pc:sldMkLst>
          <pc:docMk/>
          <pc:sldMk cId="337561355" sldId="4442"/>
        </pc:sldMkLst>
      </pc:sldChg>
      <pc:sldChg chg="modSp add mod modAnim">
        <pc:chgData name="José Alberto Sousa Torres" userId="2784cfe513e17c0c" providerId="LiveId" clId="{46443669-731A-3C45-9CF3-DA10A5CBD394}" dt="2025-09-06T22:25:42.847" v="4710" actId="113"/>
        <pc:sldMkLst>
          <pc:docMk/>
          <pc:sldMk cId="2255351309" sldId="4443"/>
        </pc:sldMkLst>
        <pc:spChg chg="mod">
          <ac:chgData name="José Alberto Sousa Torres" userId="2784cfe513e17c0c" providerId="LiveId" clId="{46443669-731A-3C45-9CF3-DA10A5CBD394}" dt="2025-09-05T21:02:41.768" v="2931"/>
          <ac:spMkLst>
            <pc:docMk/>
            <pc:sldMk cId="2255351309" sldId="4443"/>
            <ac:spMk id="2" creationId="{5869A4F9-FFFF-F43F-E8EE-05FA10DFA261}"/>
          </ac:spMkLst>
        </pc:spChg>
        <pc:spChg chg="mod">
          <ac:chgData name="José Alberto Sousa Torres" userId="2784cfe513e17c0c" providerId="LiveId" clId="{46443669-731A-3C45-9CF3-DA10A5CBD394}" dt="2025-09-06T22:25:42.847" v="4710" actId="113"/>
          <ac:spMkLst>
            <pc:docMk/>
            <pc:sldMk cId="2255351309" sldId="4443"/>
            <ac:spMk id="3" creationId="{7C0404FD-841D-3795-195E-00A267AE2EF3}"/>
          </ac:spMkLst>
        </pc:spChg>
      </pc:sldChg>
      <pc:sldChg chg="modSp add del mod">
        <pc:chgData name="José Alberto Sousa Torres" userId="2784cfe513e17c0c" providerId="LiveId" clId="{46443669-731A-3C45-9CF3-DA10A5CBD394}" dt="2025-09-05T20:17:39.468" v="2919" actId="2696"/>
        <pc:sldMkLst>
          <pc:docMk/>
          <pc:sldMk cId="754808346" sldId="4444"/>
        </pc:sldMkLst>
        <pc:spChg chg="mod">
          <ac:chgData name="José Alberto Sousa Torres" userId="2784cfe513e17c0c" providerId="LiveId" clId="{46443669-731A-3C45-9CF3-DA10A5CBD394}" dt="2025-09-05T20:16:54.064" v="2915" actId="21"/>
          <ac:spMkLst>
            <pc:docMk/>
            <pc:sldMk cId="754808346" sldId="4444"/>
            <ac:spMk id="3" creationId="{7E63D44D-7DEB-E133-0BCF-953AFF74963A}"/>
          </ac:spMkLst>
        </pc:spChg>
      </pc:sldChg>
      <pc:sldChg chg="del">
        <pc:chgData name="José Alberto Sousa Torres" userId="2784cfe513e17c0c" providerId="LiveId" clId="{46443669-731A-3C45-9CF3-DA10A5CBD394}" dt="2025-08-31T22:07:56.598" v="45" actId="2696"/>
        <pc:sldMkLst>
          <pc:docMk/>
          <pc:sldMk cId="880709586" sldId="4444"/>
        </pc:sldMkLst>
      </pc:sldChg>
      <pc:sldChg chg="modSp add del mod">
        <pc:chgData name="José Alberto Sousa Torres" userId="2784cfe513e17c0c" providerId="LiveId" clId="{46443669-731A-3C45-9CF3-DA10A5CBD394}" dt="2025-09-06T20:18:28.190" v="2973" actId="2696"/>
        <pc:sldMkLst>
          <pc:docMk/>
          <pc:sldMk cId="4269455925" sldId="4445"/>
        </pc:sldMkLst>
        <pc:spChg chg="mod">
          <ac:chgData name="José Alberto Sousa Torres" userId="2784cfe513e17c0c" providerId="LiveId" clId="{46443669-731A-3C45-9CF3-DA10A5CBD394}" dt="2025-09-05T20:17:53.226" v="2922" actId="20577"/>
          <ac:spMkLst>
            <pc:docMk/>
            <pc:sldMk cId="4269455925" sldId="4445"/>
            <ac:spMk id="3" creationId="{C119A642-9ACB-C595-21EE-54B74170269A}"/>
          </ac:spMkLst>
        </pc:spChg>
      </pc:sldChg>
      <pc:sldChg chg="modSp new mod modAnim">
        <pc:chgData name="José Alberto Sousa Torres" userId="2784cfe513e17c0c" providerId="LiveId" clId="{46443669-731A-3C45-9CF3-DA10A5CBD394}" dt="2025-09-06T22:31:37.766" v="4817" actId="113"/>
        <pc:sldMkLst>
          <pc:docMk/>
          <pc:sldMk cId="1033957862" sldId="4446"/>
        </pc:sldMkLst>
        <pc:spChg chg="mod">
          <ac:chgData name="José Alberto Sousa Torres" userId="2784cfe513e17c0c" providerId="LiveId" clId="{46443669-731A-3C45-9CF3-DA10A5CBD394}" dt="2025-09-06T22:30:34.715" v="4796" actId="113"/>
          <ac:spMkLst>
            <pc:docMk/>
            <pc:sldMk cId="1033957862" sldId="4446"/>
            <ac:spMk id="2" creationId="{AB0D717E-F6C6-D9C8-CB2E-E218FD4F1374}"/>
          </ac:spMkLst>
        </pc:spChg>
        <pc:spChg chg="mod">
          <ac:chgData name="José Alberto Sousa Torres" userId="2784cfe513e17c0c" providerId="LiveId" clId="{46443669-731A-3C45-9CF3-DA10A5CBD394}" dt="2025-09-06T22:31:37.766" v="4817" actId="113"/>
          <ac:spMkLst>
            <pc:docMk/>
            <pc:sldMk cId="1033957862" sldId="4446"/>
            <ac:spMk id="3" creationId="{BE05D22E-DDBC-632B-D6E9-A3CE0814D64D}"/>
          </ac:spMkLst>
        </pc:spChg>
      </pc:sldChg>
      <pc:sldChg chg="modSp new del mod">
        <pc:chgData name="José Alberto Sousa Torres" userId="2784cfe513e17c0c" providerId="LiveId" clId="{46443669-731A-3C45-9CF3-DA10A5CBD394}" dt="2025-09-06T22:30:29.660" v="4795" actId="2696"/>
        <pc:sldMkLst>
          <pc:docMk/>
          <pc:sldMk cId="1314546907" sldId="4447"/>
        </pc:sldMkLst>
        <pc:spChg chg="mod">
          <ac:chgData name="José Alberto Sousa Torres" userId="2784cfe513e17c0c" providerId="LiveId" clId="{46443669-731A-3C45-9CF3-DA10A5CBD394}" dt="2025-09-05T20:58:47.241" v="2926" actId="27636"/>
          <ac:spMkLst>
            <pc:docMk/>
            <pc:sldMk cId="1314546907" sldId="4447"/>
            <ac:spMk id="3" creationId="{CA512801-3E2E-ABA2-6CA9-081B064AEE09}"/>
          </ac:spMkLst>
        </pc:spChg>
      </pc:sldChg>
      <pc:sldChg chg="del">
        <pc:chgData name="José Alberto Sousa Torres" userId="2784cfe513e17c0c" providerId="LiveId" clId="{46443669-731A-3C45-9CF3-DA10A5CBD394}" dt="2025-08-31T22:07:56.571" v="24" actId="2696"/>
        <pc:sldMkLst>
          <pc:docMk/>
          <pc:sldMk cId="3026762890" sldId="4447"/>
        </pc:sldMkLst>
      </pc:sldChg>
      <pc:sldChg chg="addSp delSp modSp new mod ord modClrScheme chgLayout">
        <pc:chgData name="José Alberto Sousa Torres" userId="2784cfe513e17c0c" providerId="LiveId" clId="{46443669-731A-3C45-9CF3-DA10A5CBD394}" dt="2025-09-06T22:28:21.713" v="4794" actId="14100"/>
        <pc:sldMkLst>
          <pc:docMk/>
          <pc:sldMk cId="2756417947" sldId="4448"/>
        </pc:sldMkLst>
        <pc:spChg chg="mod ord">
          <ac:chgData name="José Alberto Sousa Torres" userId="2784cfe513e17c0c" providerId="LiveId" clId="{46443669-731A-3C45-9CF3-DA10A5CBD394}" dt="2025-09-06T22:28:16.460" v="4792" actId="700"/>
          <ac:spMkLst>
            <pc:docMk/>
            <pc:sldMk cId="2756417947" sldId="4448"/>
            <ac:spMk id="2" creationId="{E6D900DA-0D30-49A5-2E50-3F6E3FBFDF7F}"/>
          </ac:spMkLst>
        </pc:spChg>
        <pc:spChg chg="del">
          <ac:chgData name="José Alberto Sousa Torres" userId="2784cfe513e17c0c" providerId="LiveId" clId="{46443669-731A-3C45-9CF3-DA10A5CBD394}" dt="2025-09-05T21:01:16.361" v="2928"/>
          <ac:spMkLst>
            <pc:docMk/>
            <pc:sldMk cId="2756417947" sldId="4448"/>
            <ac:spMk id="3" creationId="{2F749745-9750-435B-45FE-8B2BB1374F20}"/>
          </ac:spMkLst>
        </pc:spChg>
        <pc:picChg chg="add mod ord modCrop">
          <ac:chgData name="José Alberto Sousa Torres" userId="2784cfe513e17c0c" providerId="LiveId" clId="{46443669-731A-3C45-9CF3-DA10A5CBD394}" dt="2025-09-06T22:28:21.713" v="4794" actId="14100"/>
          <ac:picMkLst>
            <pc:docMk/>
            <pc:sldMk cId="2756417947" sldId="4448"/>
            <ac:picMk id="5" creationId="{DFB61835-DF99-386F-1BB4-864E38FD08AF}"/>
          </ac:picMkLst>
        </pc:picChg>
      </pc:sldChg>
      <pc:sldChg chg="del">
        <pc:chgData name="José Alberto Sousa Torres" userId="2784cfe513e17c0c" providerId="LiveId" clId="{46443669-731A-3C45-9CF3-DA10A5CBD394}" dt="2025-08-31T22:07:56.567" v="20" actId="2696"/>
        <pc:sldMkLst>
          <pc:docMk/>
          <pc:sldMk cId="2943315309" sldId="4448"/>
        </pc:sldMkLst>
      </pc:sldChg>
      <pc:sldChg chg="del">
        <pc:chgData name="José Alberto Sousa Torres" userId="2784cfe513e17c0c" providerId="LiveId" clId="{46443669-731A-3C45-9CF3-DA10A5CBD394}" dt="2025-08-31T22:07:56.599" v="46" actId="2696"/>
        <pc:sldMkLst>
          <pc:docMk/>
          <pc:sldMk cId="428311860" sldId="4449"/>
        </pc:sldMkLst>
      </pc:sldChg>
      <pc:sldChg chg="modSp new mod modAnim">
        <pc:chgData name="José Alberto Sousa Torres" userId="2784cfe513e17c0c" providerId="LiveId" clId="{46443669-731A-3C45-9CF3-DA10A5CBD394}" dt="2025-09-06T22:27:29.967" v="4781" actId="403"/>
        <pc:sldMkLst>
          <pc:docMk/>
          <pc:sldMk cId="699828524" sldId="4449"/>
        </pc:sldMkLst>
        <pc:spChg chg="mod">
          <ac:chgData name="José Alberto Sousa Torres" userId="2784cfe513e17c0c" providerId="LiveId" clId="{46443669-731A-3C45-9CF3-DA10A5CBD394}" dt="2025-09-05T21:07:45.036" v="2963" actId="20577"/>
          <ac:spMkLst>
            <pc:docMk/>
            <pc:sldMk cId="699828524" sldId="4449"/>
            <ac:spMk id="2" creationId="{26393FE5-09DA-D7C4-1EBB-17F4AFF1A8E4}"/>
          </ac:spMkLst>
        </pc:spChg>
        <pc:spChg chg="mod">
          <ac:chgData name="José Alberto Sousa Torres" userId="2784cfe513e17c0c" providerId="LiveId" clId="{46443669-731A-3C45-9CF3-DA10A5CBD394}" dt="2025-09-06T22:27:29.967" v="4781" actId="403"/>
          <ac:spMkLst>
            <pc:docMk/>
            <pc:sldMk cId="699828524" sldId="4449"/>
            <ac:spMk id="3" creationId="{D15D9664-EB19-382E-F7FA-CC188EDB79F5}"/>
          </ac:spMkLst>
        </pc:spChg>
      </pc:sldChg>
      <pc:sldChg chg="new del">
        <pc:chgData name="José Alberto Sousa Torres" userId="2784cfe513e17c0c" providerId="LiveId" clId="{46443669-731A-3C45-9CF3-DA10A5CBD394}" dt="2025-09-06T20:18:22.802" v="2972" actId="2696"/>
        <pc:sldMkLst>
          <pc:docMk/>
          <pc:sldMk cId="443964831" sldId="4450"/>
        </pc:sldMkLst>
      </pc:sldChg>
      <pc:sldChg chg="del">
        <pc:chgData name="José Alberto Sousa Torres" userId="2784cfe513e17c0c" providerId="LiveId" clId="{46443669-731A-3C45-9CF3-DA10A5CBD394}" dt="2025-08-31T22:07:56.579" v="30" actId="2696"/>
        <pc:sldMkLst>
          <pc:docMk/>
          <pc:sldMk cId="1059839276" sldId="4450"/>
        </pc:sldMkLst>
      </pc:sldChg>
      <pc:sldChg chg="modSp new mod modAnim">
        <pc:chgData name="José Alberto Sousa Torres" userId="2784cfe513e17c0c" providerId="LiveId" clId="{46443669-731A-3C45-9CF3-DA10A5CBD394}" dt="2025-09-06T22:33:38.194" v="4824"/>
        <pc:sldMkLst>
          <pc:docMk/>
          <pc:sldMk cId="4148468226" sldId="4450"/>
        </pc:sldMkLst>
        <pc:spChg chg="mod">
          <ac:chgData name="José Alberto Sousa Torres" userId="2784cfe513e17c0c" providerId="LiveId" clId="{46443669-731A-3C45-9CF3-DA10A5CBD394}" dt="2025-09-06T22:31:45.269" v="4818"/>
          <ac:spMkLst>
            <pc:docMk/>
            <pc:sldMk cId="4148468226" sldId="4450"/>
            <ac:spMk id="2" creationId="{C782976F-705B-6508-55AE-5F817DC2AB39}"/>
          </ac:spMkLst>
        </pc:spChg>
        <pc:spChg chg="mod">
          <ac:chgData name="José Alberto Sousa Torres" userId="2784cfe513e17c0c" providerId="LiveId" clId="{46443669-731A-3C45-9CF3-DA10A5CBD394}" dt="2025-09-06T22:33:34.323" v="4823" actId="403"/>
          <ac:spMkLst>
            <pc:docMk/>
            <pc:sldMk cId="4148468226" sldId="4450"/>
            <ac:spMk id="3" creationId="{78C4C8E3-E9DA-7C74-6C9F-38362ACC1ADA}"/>
          </ac:spMkLst>
        </pc:spChg>
      </pc:sldChg>
      <pc:sldChg chg="addSp modSp new mod modAnim">
        <pc:chgData name="José Alberto Sousa Torres" userId="2784cfe513e17c0c" providerId="LiveId" clId="{46443669-731A-3C45-9CF3-DA10A5CBD394}" dt="2025-09-06T22:35:25.175" v="4917" actId="20577"/>
        <pc:sldMkLst>
          <pc:docMk/>
          <pc:sldMk cId="2510009015" sldId="4451"/>
        </pc:sldMkLst>
        <pc:spChg chg="mod">
          <ac:chgData name="José Alberto Sousa Torres" userId="2784cfe513e17c0c" providerId="LiveId" clId="{46443669-731A-3C45-9CF3-DA10A5CBD394}" dt="2025-09-06T22:34:25.301" v="4880" actId="20577"/>
          <ac:spMkLst>
            <pc:docMk/>
            <pc:sldMk cId="2510009015" sldId="4451"/>
            <ac:spMk id="2" creationId="{83BBEF67-3A24-0B73-BF97-5EDEB1CA85EF}"/>
          </ac:spMkLst>
        </pc:spChg>
        <pc:spChg chg="mod">
          <ac:chgData name="José Alberto Sousa Torres" userId="2784cfe513e17c0c" providerId="LiveId" clId="{46443669-731A-3C45-9CF3-DA10A5CBD394}" dt="2025-09-06T22:35:25.175" v="4917" actId="20577"/>
          <ac:spMkLst>
            <pc:docMk/>
            <pc:sldMk cId="2510009015" sldId="4451"/>
            <ac:spMk id="3" creationId="{26D9399C-022A-60A5-9A89-6511E4D57CF4}"/>
          </ac:spMkLst>
        </pc:spChg>
        <pc:spChg chg="add mod">
          <ac:chgData name="José Alberto Sousa Torres" userId="2784cfe513e17c0c" providerId="LiveId" clId="{46443669-731A-3C45-9CF3-DA10A5CBD394}" dt="2025-09-06T22:34:06.960" v="4876" actId="207"/>
          <ac:spMkLst>
            <pc:docMk/>
            <pc:sldMk cId="2510009015" sldId="4451"/>
            <ac:spMk id="4" creationId="{9061C238-81C9-B473-77C3-D9EB97D7A6DF}"/>
          </ac:spMkLst>
        </pc:spChg>
      </pc:sldChg>
      <pc:sldChg chg="del">
        <pc:chgData name="José Alberto Sousa Torres" userId="2784cfe513e17c0c" providerId="LiveId" clId="{46443669-731A-3C45-9CF3-DA10A5CBD394}" dt="2025-08-31T22:07:56.592" v="38" actId="2696"/>
        <pc:sldMkLst>
          <pc:docMk/>
          <pc:sldMk cId="3016093753" sldId="4451"/>
        </pc:sldMkLst>
      </pc:sldChg>
      <pc:sldChg chg="modSp add mod modAnim">
        <pc:chgData name="José Alberto Sousa Torres" userId="2784cfe513e17c0c" providerId="LiveId" clId="{46443669-731A-3C45-9CF3-DA10A5CBD394}" dt="2025-09-06T21:27:31.872" v="3276" actId="20577"/>
        <pc:sldMkLst>
          <pc:docMk/>
          <pc:sldMk cId="866815886" sldId="4452"/>
        </pc:sldMkLst>
        <pc:spChg chg="mod">
          <ac:chgData name="José Alberto Sousa Torres" userId="2784cfe513e17c0c" providerId="LiveId" clId="{46443669-731A-3C45-9CF3-DA10A5CBD394}" dt="2025-09-06T21:27:27.261" v="3254" actId="20577"/>
          <ac:spMkLst>
            <pc:docMk/>
            <pc:sldMk cId="866815886" sldId="4452"/>
            <ac:spMk id="3" creationId="{721AEAE0-C870-0CA0-CD57-8DA5E1A4A2EA}"/>
          </ac:spMkLst>
        </pc:spChg>
        <pc:spChg chg="mod">
          <ac:chgData name="José Alberto Sousa Torres" userId="2784cfe513e17c0c" providerId="LiveId" clId="{46443669-731A-3C45-9CF3-DA10A5CBD394}" dt="2025-09-06T21:27:31.872" v="3276" actId="20577"/>
          <ac:spMkLst>
            <pc:docMk/>
            <pc:sldMk cId="866815886" sldId="4452"/>
            <ac:spMk id="4" creationId="{BF472E29-1632-5A4F-EB0A-605511DBA9AC}"/>
          </ac:spMkLst>
        </pc:spChg>
        <pc:picChg chg="mod">
          <ac:chgData name="José Alberto Sousa Torres" userId="2784cfe513e17c0c" providerId="LiveId" clId="{46443669-731A-3C45-9CF3-DA10A5CBD394}" dt="2025-09-06T21:27:19.652" v="3245" actId="1076"/>
          <ac:picMkLst>
            <pc:docMk/>
            <pc:sldMk cId="866815886" sldId="4452"/>
            <ac:picMk id="2" creationId="{637A95CD-CE41-57B4-30D7-9D493B51067C}"/>
          </ac:picMkLst>
        </pc:picChg>
      </pc:sldChg>
      <pc:sldChg chg="del">
        <pc:chgData name="José Alberto Sousa Torres" userId="2784cfe513e17c0c" providerId="LiveId" clId="{46443669-731A-3C45-9CF3-DA10A5CBD394}" dt="2025-08-31T22:07:56.569" v="22" actId="2696"/>
        <pc:sldMkLst>
          <pc:docMk/>
          <pc:sldMk cId="2802120956" sldId="4452"/>
        </pc:sldMkLst>
      </pc:sldChg>
      <pc:sldChg chg="add del">
        <pc:chgData name="José Alberto Sousa Torres" userId="2784cfe513e17c0c" providerId="LiveId" clId="{46443669-731A-3C45-9CF3-DA10A5CBD394}" dt="2025-09-06T21:03:52.945" v="3116" actId="2696"/>
        <pc:sldMkLst>
          <pc:docMk/>
          <pc:sldMk cId="3182633345" sldId="4452"/>
        </pc:sldMkLst>
      </pc:sldChg>
      <pc:sldChg chg="modSp add mod modAnim">
        <pc:chgData name="José Alberto Sousa Torres" userId="2784cfe513e17c0c" providerId="LiveId" clId="{46443669-731A-3C45-9CF3-DA10A5CBD394}" dt="2025-09-06T21:40:42.060" v="3684" actId="27636"/>
        <pc:sldMkLst>
          <pc:docMk/>
          <pc:sldMk cId="3321726119" sldId="4453"/>
        </pc:sldMkLst>
        <pc:spChg chg="mod">
          <ac:chgData name="José Alberto Sousa Torres" userId="2784cfe513e17c0c" providerId="LiveId" clId="{46443669-731A-3C45-9CF3-DA10A5CBD394}" dt="2025-09-06T21:40:42.060" v="3684" actId="27636"/>
          <ac:spMkLst>
            <pc:docMk/>
            <pc:sldMk cId="3321726119" sldId="4453"/>
            <ac:spMk id="3" creationId="{4ACECA5F-9807-3926-C86A-519532E62621}"/>
          </ac:spMkLst>
        </pc:spChg>
      </pc:sldChg>
      <pc:sldChg chg="addSp modSp add del mod modAnim">
        <pc:chgData name="José Alberto Sousa Torres" userId="2784cfe513e17c0c" providerId="LiveId" clId="{46443669-731A-3C45-9CF3-DA10A5CBD394}" dt="2025-09-06T22:02:15.067" v="3962" actId="2696"/>
        <pc:sldMkLst>
          <pc:docMk/>
          <pc:sldMk cId="4113088547" sldId="4454"/>
        </pc:sldMkLst>
        <pc:spChg chg="mod">
          <ac:chgData name="José Alberto Sousa Torres" userId="2784cfe513e17c0c" providerId="LiveId" clId="{46443669-731A-3C45-9CF3-DA10A5CBD394}" dt="2025-09-06T21:57:35.790" v="3874" actId="20577"/>
          <ac:spMkLst>
            <pc:docMk/>
            <pc:sldMk cId="4113088547" sldId="4454"/>
            <ac:spMk id="3" creationId="{F2023B25-C978-1FE1-0419-53CEB6970D1A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4" creationId="{ED7DB68B-D2C0-963C-A041-E1D7A075E93D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5" creationId="{B7CB220F-230B-5610-BF8F-5522781FAB1B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6" creationId="{5F8ED7DF-C1E4-C75A-E581-09B6807E4F6F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7" creationId="{2FC992B9-8FA9-2787-2D72-E3606241B796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8" creationId="{65FB596F-A447-57E3-0BE1-889D52FE5216}"/>
          </ac:spMkLst>
        </pc:spChg>
        <pc:spChg chg="mod">
          <ac:chgData name="José Alberto Sousa Torres" userId="2784cfe513e17c0c" providerId="LiveId" clId="{46443669-731A-3C45-9CF3-DA10A5CBD394}" dt="2025-09-06T22:01:01.190" v="3945" actId="1076"/>
          <ac:spMkLst>
            <pc:docMk/>
            <pc:sldMk cId="4113088547" sldId="4454"/>
            <ac:spMk id="14" creationId="{646F48B5-8EA7-3128-BE78-41B267105DEE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16" creationId="{20AF4178-50D5-942B-19E4-9451DDD588FF}"/>
          </ac:spMkLst>
        </pc:spChg>
        <pc:spChg chg="mod">
          <ac:chgData name="José Alberto Sousa Torres" userId="2784cfe513e17c0c" providerId="LiveId" clId="{46443669-731A-3C45-9CF3-DA10A5CBD394}" dt="2025-09-06T22:00:07.089" v="3921" actId="1076"/>
          <ac:spMkLst>
            <pc:docMk/>
            <pc:sldMk cId="4113088547" sldId="4454"/>
            <ac:spMk id="17" creationId="{7AB1CC18-B5F1-849B-85A6-744405E2DD8D}"/>
          </ac:spMkLst>
        </pc:spChg>
        <pc:spChg chg="add mod">
          <ac:chgData name="José Alberto Sousa Torres" userId="2784cfe513e17c0c" providerId="LiveId" clId="{46443669-731A-3C45-9CF3-DA10A5CBD394}" dt="2025-09-06T21:59:46.054" v="3914" actId="20577"/>
          <ac:spMkLst>
            <pc:docMk/>
            <pc:sldMk cId="4113088547" sldId="4454"/>
            <ac:spMk id="18" creationId="{66417556-7BE2-91DD-EA55-25CCC7B18BA5}"/>
          </ac:spMkLst>
        </pc:spChg>
        <pc:spChg chg="add mod">
          <ac:chgData name="José Alberto Sousa Torres" userId="2784cfe513e17c0c" providerId="LiveId" clId="{46443669-731A-3C45-9CF3-DA10A5CBD394}" dt="2025-09-06T22:00:37.027" v="3935" actId="20577"/>
          <ac:spMkLst>
            <pc:docMk/>
            <pc:sldMk cId="4113088547" sldId="4454"/>
            <ac:spMk id="19" creationId="{B499EF74-8730-CDFE-A7CC-D3D6760E5D86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20" creationId="{359C33D4-1979-B625-81E6-345072F668CE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21" creationId="{6DF62282-ABA9-F4B8-DB6D-69D490A03D42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36" creationId="{7E50EA55-6770-3206-4329-27B579B26DBA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37" creationId="{5F690102-2B2B-0604-55AB-64A9ADFA0BB3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38" creationId="{5F07B2A2-0D4C-FF5F-0E46-A8E020691D69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39" creationId="{2DDB984B-D0FE-F011-2C90-7C1E0412093E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46" creationId="{32B9580B-017B-7544-0515-15917D6CE1EE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49" creationId="{C00DEFAF-F876-0A37-C706-14B2DA17FD7A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50" creationId="{03C3440D-A6C3-D90F-CE47-ECBD2374410A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51" creationId="{4B9B800F-BD92-4A0A-E714-0C4F733620BE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52" creationId="{7E01126E-E2DF-13D7-CDEB-33AB6C494870}"/>
          </ac:spMkLst>
        </pc:spChg>
        <pc:spChg chg="add mod">
          <ac:chgData name="José Alberto Sousa Torres" userId="2784cfe513e17c0c" providerId="LiveId" clId="{46443669-731A-3C45-9CF3-DA10A5CBD394}" dt="2025-09-06T21:58:45.812" v="3892"/>
          <ac:spMkLst>
            <pc:docMk/>
            <pc:sldMk cId="4113088547" sldId="4454"/>
            <ac:spMk id="53" creationId="{278FB880-8940-A417-EFA0-A9526348012A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89" creationId="{3C484673-3ABC-F31A-F611-499DED7399FE}"/>
          </ac:spMkLst>
        </pc:spChg>
        <pc:spChg chg="add mod">
          <ac:chgData name="José Alberto Sousa Torres" userId="2784cfe513e17c0c" providerId="LiveId" clId="{46443669-731A-3C45-9CF3-DA10A5CBD394}" dt="2025-09-06T22:01:26.093" v="3956" actId="1076"/>
          <ac:spMkLst>
            <pc:docMk/>
            <pc:sldMk cId="4113088547" sldId="4454"/>
            <ac:spMk id="91" creationId="{93085D9A-66BF-5101-58B6-D6B4652690F8}"/>
          </ac:spMkLst>
        </pc:spChg>
        <pc:cxnChg chg="mod">
          <ac:chgData name="José Alberto Sousa Torres" userId="2784cfe513e17c0c" providerId="LiveId" clId="{46443669-731A-3C45-9CF3-DA10A5CBD394}" dt="2025-09-06T21:58:05.638" v="3880" actId="14100"/>
          <ac:cxnSpMkLst>
            <pc:docMk/>
            <pc:sldMk cId="4113088547" sldId="4454"/>
            <ac:cxnSpMk id="9" creationId="{EF4A8851-CAC8-6A47-B7A3-011482C33B48}"/>
          </ac:cxnSpMkLst>
        </pc:cxnChg>
        <pc:cxnChg chg="mod">
          <ac:chgData name="José Alberto Sousa Torres" userId="2784cfe513e17c0c" providerId="LiveId" clId="{46443669-731A-3C45-9CF3-DA10A5CBD394}" dt="2025-09-06T22:00:04.723" v="3920" actId="1076"/>
          <ac:cxnSpMkLst>
            <pc:docMk/>
            <pc:sldMk cId="4113088547" sldId="4454"/>
            <ac:cxnSpMk id="10" creationId="{322C89C1-60DC-BDB4-CC10-3DB833EC0750}"/>
          </ac:cxnSpMkLst>
        </pc:cxnChg>
        <pc:cxnChg chg="mod">
          <ac:chgData name="José Alberto Sousa Torres" userId="2784cfe513e17c0c" providerId="LiveId" clId="{46443669-731A-3C45-9CF3-DA10A5CBD394}" dt="2025-09-06T22:00:04.723" v="3920" actId="1076"/>
          <ac:cxnSpMkLst>
            <pc:docMk/>
            <pc:sldMk cId="4113088547" sldId="4454"/>
            <ac:cxnSpMk id="11" creationId="{D24F3DC2-880D-4D02-BF95-C81488D8F5AA}"/>
          </ac:cxnSpMkLst>
        </pc:cxnChg>
        <pc:cxnChg chg="mod">
          <ac:chgData name="José Alberto Sousa Torres" userId="2784cfe513e17c0c" providerId="LiveId" clId="{46443669-731A-3C45-9CF3-DA10A5CBD394}" dt="2025-09-06T22:00:43.573" v="3936" actId="1076"/>
          <ac:cxnSpMkLst>
            <pc:docMk/>
            <pc:sldMk cId="4113088547" sldId="4454"/>
            <ac:cxnSpMk id="12" creationId="{F683166F-DF8F-E07E-76D2-0E65C2903C9E}"/>
          </ac:cxnSpMkLst>
        </pc:cxnChg>
        <pc:cxnChg chg="mod">
          <ac:chgData name="José Alberto Sousa Torres" userId="2784cfe513e17c0c" providerId="LiveId" clId="{46443669-731A-3C45-9CF3-DA10A5CBD394}" dt="2025-09-06T22:00:31.656" v="3930" actId="1076"/>
          <ac:cxnSpMkLst>
            <pc:docMk/>
            <pc:sldMk cId="4113088547" sldId="4454"/>
            <ac:cxnSpMk id="13" creationId="{6F73D6F6-3D3F-634E-5813-ADFAE20E3C1F}"/>
          </ac:cxnSpMkLst>
        </pc:cxnChg>
        <pc:cxnChg chg="mod">
          <ac:chgData name="José Alberto Sousa Torres" userId="2784cfe513e17c0c" providerId="LiveId" clId="{46443669-731A-3C45-9CF3-DA10A5CBD394}" dt="2025-09-06T22:00:45.823" v="3937" actId="14100"/>
          <ac:cxnSpMkLst>
            <pc:docMk/>
            <pc:sldMk cId="4113088547" sldId="4454"/>
            <ac:cxnSpMk id="15" creationId="{A452EE33-BE1C-3383-DF39-D19EF8DD04C3}"/>
          </ac:cxnSpMkLst>
        </pc:cxnChg>
        <pc:cxnChg chg="add mod">
          <ac:chgData name="José Alberto Sousa Torres" userId="2784cfe513e17c0c" providerId="LiveId" clId="{46443669-731A-3C45-9CF3-DA10A5CBD394}" dt="2025-09-06T22:01:01.190" v="3945" actId="1076"/>
          <ac:cxnSpMkLst>
            <pc:docMk/>
            <pc:sldMk cId="4113088547" sldId="4454"/>
            <ac:cxnSpMk id="57" creationId="{5DD2B0DB-D743-B330-38C6-969F39243EEF}"/>
          </ac:cxnSpMkLst>
        </pc:cxnChg>
        <pc:cxnChg chg="add mod">
          <ac:chgData name="José Alberto Sousa Torres" userId="2784cfe513e17c0c" providerId="LiveId" clId="{46443669-731A-3C45-9CF3-DA10A5CBD394}" dt="2025-09-06T22:01:12.354" v="3950" actId="14100"/>
          <ac:cxnSpMkLst>
            <pc:docMk/>
            <pc:sldMk cId="4113088547" sldId="4454"/>
            <ac:cxnSpMk id="60" creationId="{AC700444-46D1-1645-C2E1-77D465FD4720}"/>
          </ac:cxnSpMkLst>
        </pc:cxnChg>
      </pc:sldChg>
      <pc:sldChg chg="addSp modSp add mod modAnim">
        <pc:chgData name="José Alberto Sousa Torres" userId="2784cfe513e17c0c" providerId="LiveId" clId="{46443669-731A-3C45-9CF3-DA10A5CBD394}" dt="2025-09-06T22:03:08.434" v="3990" actId="164"/>
        <pc:sldMkLst>
          <pc:docMk/>
          <pc:sldMk cId="3590088071" sldId="4455"/>
        </pc:sldMkLst>
        <pc:spChg chg="mod">
          <ac:chgData name="José Alberto Sousa Torres" userId="2784cfe513e17c0c" providerId="LiveId" clId="{46443669-731A-3C45-9CF3-DA10A5CBD394}" dt="2025-09-06T22:01:56.426" v="3960" actId="1076"/>
          <ac:spMkLst>
            <pc:docMk/>
            <pc:sldMk cId="3590088071" sldId="4455"/>
            <ac:spMk id="3" creationId="{14964CF9-AC9B-9325-DAC6-7B33E3FEDFDD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4" creationId="{4CC85345-2628-9693-C5A2-4813F28C4263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5" creationId="{9406BE19-24D2-2007-24BB-94B4BD0B728B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6" creationId="{F3A4C65B-3056-CC96-93E0-4EA781EE504E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7" creationId="{A08D3735-5559-C264-2F8C-0A0865A86DA3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16" creationId="{B738DE32-9C96-9BF5-5E52-07C131878D55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17" creationId="{C550C6FE-5EE5-AB27-DDDC-57917927563B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18" creationId="{91FC39E9-35E5-D82C-2DE7-D73E17DDDC7F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21" creationId="{915463E1-B340-A141-EAF1-A2E3729DA6BC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89" creationId="{97AE86A6-3873-CA36-91EE-3DC2A8237818}"/>
          </ac:spMkLst>
        </pc:spChg>
        <pc:spChg chg="mod">
          <ac:chgData name="José Alberto Sousa Torres" userId="2784cfe513e17c0c" providerId="LiveId" clId="{46443669-731A-3C45-9CF3-DA10A5CBD394}" dt="2025-09-06T22:03:08.434" v="3990" actId="164"/>
          <ac:spMkLst>
            <pc:docMk/>
            <pc:sldMk cId="3590088071" sldId="4455"/>
            <ac:spMk id="91" creationId="{AB1D8D12-DE1A-FC08-B476-51CC688C8481}"/>
          </ac:spMkLst>
        </pc:spChg>
      </pc:sldChg>
      <pc:sldChg chg="del">
        <pc:chgData name="José Alberto Sousa Torres" userId="2784cfe513e17c0c" providerId="LiveId" clId="{46443669-731A-3C45-9CF3-DA10A5CBD394}" dt="2025-08-31T22:07:56.550" v="14" actId="2696"/>
        <pc:sldMkLst>
          <pc:docMk/>
          <pc:sldMk cId="4155087658" sldId="4455"/>
        </pc:sldMkLst>
      </pc:sldChg>
      <pc:sldChg chg="addSp modSp add mod modAnim">
        <pc:chgData name="José Alberto Sousa Torres" userId="2784cfe513e17c0c" providerId="LiveId" clId="{46443669-731A-3C45-9CF3-DA10A5CBD394}" dt="2025-09-06T22:04:04.401" v="4069" actId="20577"/>
        <pc:sldMkLst>
          <pc:docMk/>
          <pc:sldMk cId="1155934681" sldId="4456"/>
        </pc:sldMkLst>
        <pc:spChg chg="mod">
          <ac:chgData name="José Alberto Sousa Torres" userId="2784cfe513e17c0c" providerId="LiveId" clId="{46443669-731A-3C45-9CF3-DA10A5CBD394}" dt="2025-09-06T22:04:04.401" v="4069" actId="20577"/>
          <ac:spMkLst>
            <pc:docMk/>
            <pc:sldMk cId="1155934681" sldId="4456"/>
            <ac:spMk id="3" creationId="{5D3B8695-10DA-6F4E-140D-BB23EED1E18F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5" creationId="{5FD3F27A-601E-A677-6A7F-32F24273055A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6" creationId="{F84D0E06-69DF-68FE-3CB4-D54AE188B58B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7" creationId="{73A01E95-D778-8601-4E9C-82D5F09B9653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8" creationId="{472B2EA0-ACBC-DE7A-2554-90C7301140DA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15" creationId="{B33ED01C-708A-904B-7D22-9C6440713E0D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19" creationId="{57DB0D8E-A516-BAAE-81C5-E49DC07EA454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20" creationId="{51DC67FC-6470-44F2-CE12-F99ACD0565DB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22" creationId="{87B7331E-D05C-3230-8A83-061E0E47EA21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25" creationId="{3B3411CB-24B7-0DB3-B9F8-5FEC4AAB8AF9}"/>
          </ac:spMkLst>
        </pc:spChg>
        <pc:spChg chg="mod">
          <ac:chgData name="José Alberto Sousa Torres" userId="2784cfe513e17c0c" providerId="LiveId" clId="{46443669-731A-3C45-9CF3-DA10A5CBD394}" dt="2025-09-06T22:03:10.684" v="3991"/>
          <ac:spMkLst>
            <pc:docMk/>
            <pc:sldMk cId="1155934681" sldId="4456"/>
            <ac:spMk id="26" creationId="{76C7BF18-4E2B-B7C6-FE45-751B6348A803}"/>
          </ac:spMkLst>
        </pc:spChg>
      </pc:sldChg>
      <pc:sldChg chg="del">
        <pc:chgData name="José Alberto Sousa Torres" userId="2784cfe513e17c0c" providerId="LiveId" clId="{46443669-731A-3C45-9CF3-DA10A5CBD394}" dt="2025-08-31T22:07:56.597" v="44" actId="2696"/>
        <pc:sldMkLst>
          <pc:docMk/>
          <pc:sldMk cId="3460846028" sldId="4457"/>
        </pc:sldMkLst>
      </pc:sldChg>
      <pc:sldChg chg="modSp add modAnim">
        <pc:chgData name="José Alberto Sousa Torres" userId="2784cfe513e17c0c" providerId="LiveId" clId="{46443669-731A-3C45-9CF3-DA10A5CBD394}" dt="2025-09-06T22:04:52.127" v="4097" actId="20577"/>
        <pc:sldMkLst>
          <pc:docMk/>
          <pc:sldMk cId="3746088285" sldId="4457"/>
        </pc:sldMkLst>
        <pc:spChg chg="mod">
          <ac:chgData name="José Alberto Sousa Torres" userId="2784cfe513e17c0c" providerId="LiveId" clId="{46443669-731A-3C45-9CF3-DA10A5CBD394}" dt="2025-09-06T22:04:52.127" v="4097" actId="20577"/>
          <ac:spMkLst>
            <pc:docMk/>
            <pc:sldMk cId="3746088285" sldId="4457"/>
            <ac:spMk id="3" creationId="{56ED4F2D-6929-67B6-BE3B-FFA1DB0ED92F}"/>
          </ac:spMkLst>
        </pc:spChg>
      </pc:sldChg>
      <pc:sldChg chg="modSp add mod">
        <pc:chgData name="José Alberto Sousa Torres" userId="2784cfe513e17c0c" providerId="LiveId" clId="{46443669-731A-3C45-9CF3-DA10A5CBD394}" dt="2025-09-06T22:07:27.897" v="4238" actId="20577"/>
        <pc:sldMkLst>
          <pc:docMk/>
          <pc:sldMk cId="1311645955" sldId="4458"/>
        </pc:sldMkLst>
        <pc:spChg chg="mod">
          <ac:chgData name="José Alberto Sousa Torres" userId="2784cfe513e17c0c" providerId="LiveId" clId="{46443669-731A-3C45-9CF3-DA10A5CBD394}" dt="2025-09-06T22:07:27.897" v="4238" actId="20577"/>
          <ac:spMkLst>
            <pc:docMk/>
            <pc:sldMk cId="1311645955" sldId="4458"/>
            <ac:spMk id="3" creationId="{D232F59C-C939-C20E-7B51-C6949CA712F0}"/>
          </ac:spMkLst>
        </pc:spChg>
        <pc:spChg chg="mod">
          <ac:chgData name="José Alberto Sousa Torres" userId="2784cfe513e17c0c" providerId="LiveId" clId="{46443669-731A-3C45-9CF3-DA10A5CBD394}" dt="2025-09-06T22:06:03.930" v="4145" actId="207"/>
          <ac:spMkLst>
            <pc:docMk/>
            <pc:sldMk cId="1311645955" sldId="4458"/>
            <ac:spMk id="6" creationId="{88F527D5-40A2-8A95-06D2-745FE322BF8E}"/>
          </ac:spMkLst>
        </pc:spChg>
        <pc:spChg chg="mod">
          <ac:chgData name="José Alberto Sousa Torres" userId="2784cfe513e17c0c" providerId="LiveId" clId="{46443669-731A-3C45-9CF3-DA10A5CBD394}" dt="2025-09-06T22:06:03.930" v="4145" actId="207"/>
          <ac:spMkLst>
            <pc:docMk/>
            <pc:sldMk cId="1311645955" sldId="4458"/>
            <ac:spMk id="7" creationId="{CBDC3F3F-8025-55E9-F6B4-00F7366C5E39}"/>
          </ac:spMkLst>
        </pc:spChg>
        <pc:spChg chg="mod">
          <ac:chgData name="José Alberto Sousa Torres" userId="2784cfe513e17c0c" providerId="LiveId" clId="{46443669-731A-3C45-9CF3-DA10A5CBD394}" dt="2025-09-06T22:06:03.930" v="4145" actId="207"/>
          <ac:spMkLst>
            <pc:docMk/>
            <pc:sldMk cId="1311645955" sldId="4458"/>
            <ac:spMk id="8" creationId="{9629F8AE-CF13-0200-0C4C-59D87EE9E443}"/>
          </ac:spMkLst>
        </pc:spChg>
        <pc:spChg chg="mod">
          <ac:chgData name="José Alberto Sousa Torres" userId="2784cfe513e17c0c" providerId="LiveId" clId="{46443669-731A-3C45-9CF3-DA10A5CBD394}" dt="2025-09-06T22:06:03.930" v="4145" actId="207"/>
          <ac:spMkLst>
            <pc:docMk/>
            <pc:sldMk cId="1311645955" sldId="4458"/>
            <ac:spMk id="9" creationId="{A44EC495-9A85-7D1F-919D-50385ED8E311}"/>
          </ac:spMkLst>
        </pc:spChg>
      </pc:sldChg>
      <pc:sldChg chg="del">
        <pc:chgData name="José Alberto Sousa Torres" userId="2784cfe513e17c0c" providerId="LiveId" clId="{46443669-731A-3C45-9CF3-DA10A5CBD394}" dt="2025-08-31T22:07:56.563" v="17" actId="2696"/>
        <pc:sldMkLst>
          <pc:docMk/>
          <pc:sldMk cId="3733438429" sldId="4458"/>
        </pc:sldMkLst>
      </pc:sldChg>
      <pc:sldChg chg="addSp delSp modSp add mod modAnim">
        <pc:chgData name="José Alberto Sousa Torres" userId="2784cfe513e17c0c" providerId="LiveId" clId="{46443669-731A-3C45-9CF3-DA10A5CBD394}" dt="2025-09-06T22:11:20.754" v="4284" actId="12"/>
        <pc:sldMkLst>
          <pc:docMk/>
          <pc:sldMk cId="2998414009" sldId="4459"/>
        </pc:sldMkLst>
        <pc:spChg chg="mod">
          <ac:chgData name="José Alberto Sousa Torres" userId="2784cfe513e17c0c" providerId="LiveId" clId="{46443669-731A-3C45-9CF3-DA10A5CBD394}" dt="2025-09-06T22:11:20.754" v="4284" actId="12"/>
          <ac:spMkLst>
            <pc:docMk/>
            <pc:sldMk cId="2998414009" sldId="4459"/>
            <ac:spMk id="3" creationId="{41A3BEE0-AC79-FA7C-1294-C2AD8871CEF8}"/>
          </ac:spMkLst>
        </pc:spChg>
        <pc:spChg chg="del mod topLvl">
          <ac:chgData name="José Alberto Sousa Torres" userId="2784cfe513e17c0c" providerId="LiveId" clId="{46443669-731A-3C45-9CF3-DA10A5CBD394}" dt="2025-09-06T22:07:54.859" v="4242" actId="478"/>
          <ac:spMkLst>
            <pc:docMk/>
            <pc:sldMk cId="2998414009" sldId="4459"/>
            <ac:spMk id="5" creationId="{5CAB5C2B-000C-6BC5-D66D-C35979B03972}"/>
          </ac:spMkLst>
        </pc:spChg>
        <pc:spChg chg="mod topLvl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6" creationId="{D54B759D-BC75-0A78-FFBF-86A9CDDB8AC3}"/>
          </ac:spMkLst>
        </pc:spChg>
        <pc:spChg chg="mod topLvl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7" creationId="{DEBD5C3D-27ED-2017-36AF-24A2313EAB54}"/>
          </ac:spMkLst>
        </pc:spChg>
        <pc:spChg chg="mod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8" creationId="{D94B4A89-00CF-2600-C866-6BA238037B53}"/>
          </ac:spMkLst>
        </pc:spChg>
        <pc:spChg chg="mod topLvl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9" creationId="{23BA37A8-26D9-104D-6C1E-FABB197D4BBE}"/>
          </ac:spMkLst>
        </pc:spChg>
        <pc:spChg chg="del mod topLvl">
          <ac:chgData name="José Alberto Sousa Torres" userId="2784cfe513e17c0c" providerId="LiveId" clId="{46443669-731A-3C45-9CF3-DA10A5CBD394}" dt="2025-09-06T22:07:49.775" v="4241" actId="478"/>
          <ac:spMkLst>
            <pc:docMk/>
            <pc:sldMk cId="2998414009" sldId="4459"/>
            <ac:spMk id="15" creationId="{451A108C-E96A-4CDC-BEBD-EED12AF04E8C}"/>
          </ac:spMkLst>
        </pc:spChg>
        <pc:spChg chg="del mod topLvl">
          <ac:chgData name="José Alberto Sousa Torres" userId="2784cfe513e17c0c" providerId="LiveId" clId="{46443669-731A-3C45-9CF3-DA10A5CBD394}" dt="2025-09-06T22:07:54.859" v="4242" actId="478"/>
          <ac:spMkLst>
            <pc:docMk/>
            <pc:sldMk cId="2998414009" sldId="4459"/>
            <ac:spMk id="17" creationId="{0CA99100-21D0-2844-CE6B-130F83A98152}"/>
          </ac:spMkLst>
        </pc:spChg>
        <pc:spChg chg="mod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18" creationId="{17395E63-3769-FCED-F24D-841D124D0A12}"/>
          </ac:spMkLst>
        </pc:spChg>
        <pc:spChg chg="mod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19" creationId="{D56B7C59-471A-0C72-4436-97EF8EED9588}"/>
          </ac:spMkLst>
        </pc:spChg>
        <pc:spChg chg="mod topLvl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20" creationId="{EFE2C226-44E7-461E-888F-8C5BF64CD46D}"/>
          </ac:spMkLst>
        </pc:spChg>
        <pc:spChg chg="mod topLvl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21" creationId="{F8CB7654-C3A8-1DC1-E062-D97BF3F0EE5B}"/>
          </ac:spMkLst>
        </pc:spChg>
        <pc:spChg chg="mod topLvl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22" creationId="{74F5D8C5-E311-D167-C40F-9C210B54277F}"/>
          </ac:spMkLst>
        </pc:spChg>
        <pc:spChg chg="del">
          <ac:chgData name="José Alberto Sousa Torres" userId="2784cfe513e17c0c" providerId="LiveId" clId="{46443669-731A-3C45-9CF3-DA10A5CBD394}" dt="2025-09-06T22:07:49.775" v="4241" actId="478"/>
          <ac:spMkLst>
            <pc:docMk/>
            <pc:sldMk cId="2998414009" sldId="4459"/>
            <ac:spMk id="25" creationId="{68F70AAF-738E-9758-4BC6-47B97568A45D}"/>
          </ac:spMkLst>
        </pc:spChg>
        <pc:spChg chg="del mod topLvl">
          <ac:chgData name="José Alberto Sousa Torres" userId="2784cfe513e17c0c" providerId="LiveId" clId="{46443669-731A-3C45-9CF3-DA10A5CBD394}" dt="2025-09-06T22:07:49.775" v="4241" actId="478"/>
          <ac:spMkLst>
            <pc:docMk/>
            <pc:sldMk cId="2998414009" sldId="4459"/>
            <ac:spMk id="26" creationId="{8254E366-674B-1FEC-2236-6AF1593EFA61}"/>
          </ac:spMkLst>
        </pc:spChg>
        <pc:spChg chg="add mod">
          <ac:chgData name="José Alberto Sousa Torres" userId="2784cfe513e17c0c" providerId="LiveId" clId="{46443669-731A-3C45-9CF3-DA10A5CBD394}" dt="2025-09-06T22:10:44.779" v="4281" actId="164"/>
          <ac:spMkLst>
            <pc:docMk/>
            <pc:sldMk cId="2998414009" sldId="4459"/>
            <ac:spMk id="33" creationId="{4FBA8381-D152-FFFE-77F6-54D044C22552}"/>
          </ac:spMkLst>
        </pc:spChg>
        <pc:spChg chg="add del mod">
          <ac:chgData name="José Alberto Sousa Torres" userId="2784cfe513e17c0c" providerId="LiveId" clId="{46443669-731A-3C45-9CF3-DA10A5CBD394}" dt="2025-09-06T22:10:35.537" v="4280" actId="478"/>
          <ac:spMkLst>
            <pc:docMk/>
            <pc:sldMk cId="2998414009" sldId="4459"/>
            <ac:spMk id="35" creationId="{F7A63ADD-5611-A85B-D458-D8ADC0776970}"/>
          </ac:spMkLst>
        </pc:spChg>
        <pc:cxnChg chg="mod">
          <ac:chgData name="José Alberto Sousa Torres" userId="2784cfe513e17c0c" providerId="LiveId" clId="{46443669-731A-3C45-9CF3-DA10A5CBD394}" dt="2025-09-06T22:08:05.964" v="4245" actId="14100"/>
          <ac:cxnSpMkLst>
            <pc:docMk/>
            <pc:sldMk cId="2998414009" sldId="4459"/>
            <ac:cxnSpMk id="10" creationId="{161A49D9-5061-BF8F-924D-14E0B1C04777}"/>
          </ac:cxnSpMkLst>
        </pc:cxnChg>
        <pc:cxnChg chg="del mod">
          <ac:chgData name="José Alberto Sousa Torres" userId="2784cfe513e17c0c" providerId="LiveId" clId="{46443669-731A-3C45-9CF3-DA10A5CBD394}" dt="2025-09-06T22:07:54.859" v="4242" actId="478"/>
          <ac:cxnSpMkLst>
            <pc:docMk/>
            <pc:sldMk cId="2998414009" sldId="4459"/>
            <ac:cxnSpMk id="11" creationId="{CF3146FD-60A6-9F4C-8E58-C0CB312A6D99}"/>
          </ac:cxnSpMkLst>
        </pc:cxnChg>
        <pc:cxnChg chg="mod">
          <ac:chgData name="José Alberto Sousa Torres" userId="2784cfe513e17c0c" providerId="LiveId" clId="{46443669-731A-3C45-9CF3-DA10A5CBD394}" dt="2025-09-06T22:08:25.414" v="4249" actId="14100"/>
          <ac:cxnSpMkLst>
            <pc:docMk/>
            <pc:sldMk cId="2998414009" sldId="4459"/>
            <ac:cxnSpMk id="16" creationId="{B4E2ECA7-241E-14AF-B2F2-C5C6912D0FAC}"/>
          </ac:cxnSpMkLst>
        </pc:cxnChg>
        <pc:cxnChg chg="del mod">
          <ac:chgData name="José Alberto Sousa Torres" userId="2784cfe513e17c0c" providerId="LiveId" clId="{46443669-731A-3C45-9CF3-DA10A5CBD394}" dt="2025-09-06T22:09:48.230" v="4271" actId="478"/>
          <ac:cxnSpMkLst>
            <pc:docMk/>
            <pc:sldMk cId="2998414009" sldId="4459"/>
            <ac:cxnSpMk id="23" creationId="{DB329239-8A27-7A17-269F-429BF53464CE}"/>
          </ac:cxnSpMkLst>
        </pc:cxnChg>
        <pc:cxnChg chg="del mod">
          <ac:chgData name="José Alberto Sousa Torres" userId="2784cfe513e17c0c" providerId="LiveId" clId="{46443669-731A-3C45-9CF3-DA10A5CBD394}" dt="2025-09-06T22:07:49.775" v="4241" actId="478"/>
          <ac:cxnSpMkLst>
            <pc:docMk/>
            <pc:sldMk cId="2998414009" sldId="4459"/>
            <ac:cxnSpMk id="24" creationId="{EC443E0D-230D-9E44-9293-238832BBD206}"/>
          </ac:cxnSpMkLst>
        </pc:cxnChg>
        <pc:cxnChg chg="add mod">
          <ac:chgData name="José Alberto Sousa Torres" userId="2784cfe513e17c0c" providerId="LiveId" clId="{46443669-731A-3C45-9CF3-DA10A5CBD394}" dt="2025-09-06T22:08:15.681" v="4248" actId="14100"/>
          <ac:cxnSpMkLst>
            <pc:docMk/>
            <pc:sldMk cId="2998414009" sldId="4459"/>
            <ac:cxnSpMk id="29" creationId="{08BB3F6D-F6D9-67BE-74A0-0B2386766C50}"/>
          </ac:cxnSpMkLst>
        </pc:cxnChg>
      </pc:sldChg>
      <pc:sldChg chg="del">
        <pc:chgData name="José Alberto Sousa Torres" userId="2784cfe513e17c0c" providerId="LiveId" clId="{46443669-731A-3C45-9CF3-DA10A5CBD394}" dt="2025-08-31T22:07:56.582" v="33" actId="2696"/>
        <pc:sldMkLst>
          <pc:docMk/>
          <pc:sldMk cId="3574660132" sldId="4459"/>
        </pc:sldMkLst>
      </pc:sldChg>
      <pc:sldChg chg="del">
        <pc:chgData name="José Alberto Sousa Torres" userId="2784cfe513e17c0c" providerId="LiveId" clId="{46443669-731A-3C45-9CF3-DA10A5CBD394}" dt="2025-08-31T22:07:56.549" v="13" actId="2696"/>
        <pc:sldMkLst>
          <pc:docMk/>
          <pc:sldMk cId="168579158" sldId="4460"/>
        </pc:sldMkLst>
      </pc:sldChg>
      <pc:sldChg chg="addSp modSp add mod modAnim">
        <pc:chgData name="José Alberto Sousa Torres" userId="2784cfe513e17c0c" providerId="LiveId" clId="{46443669-731A-3C45-9CF3-DA10A5CBD394}" dt="2025-09-06T22:14:38.986" v="4412" actId="1076"/>
        <pc:sldMkLst>
          <pc:docMk/>
          <pc:sldMk cId="933849628" sldId="4460"/>
        </pc:sldMkLst>
        <pc:spChg chg="mod">
          <ac:chgData name="José Alberto Sousa Torres" userId="2784cfe513e17c0c" providerId="LiveId" clId="{46443669-731A-3C45-9CF3-DA10A5CBD394}" dt="2025-09-06T22:14:36.652" v="4411" actId="20577"/>
          <ac:spMkLst>
            <pc:docMk/>
            <pc:sldMk cId="933849628" sldId="4460"/>
            <ac:spMk id="2" creationId="{DE749580-EDCF-D898-1DED-6CC0E830608F}"/>
          </ac:spMkLst>
        </pc:spChg>
        <pc:spChg chg="mod">
          <ac:chgData name="José Alberto Sousa Torres" userId="2784cfe513e17c0c" providerId="LiveId" clId="{46443669-731A-3C45-9CF3-DA10A5CBD394}" dt="2025-09-06T22:14:34.293" v="4410" actId="14100"/>
          <ac:spMkLst>
            <pc:docMk/>
            <pc:sldMk cId="933849628" sldId="4460"/>
            <ac:spMk id="3" creationId="{DE71D1F8-36C3-98E2-F7AA-AA0E31109B90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5" creationId="{2BCC5A7C-4ED4-5500-0B04-6A5EE797CEFE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6" creationId="{E19C0A8D-1D81-5B8B-893E-C69CEF897F06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7" creationId="{95E2B0C6-427D-A9F7-72F6-549F1D757396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8" creationId="{328E28B9-D793-35AB-289A-494AE0DACDAF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14" creationId="{1BE76E81-566F-B117-4D75-C7CE0DFD1A5E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15" creationId="{D7A0FEF3-0C57-39A3-A48C-733C24C5B3BF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16" creationId="{89D4C8C9-1FB8-4BBD-2BC7-C3933C874299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17" creationId="{5D635305-6C76-9E37-E09E-BA3A37A06379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18" creationId="{91EC7B97-DE15-BA81-E376-38E488963D86}"/>
          </ac:spMkLst>
        </pc:spChg>
        <pc:spChg chg="mod">
          <ac:chgData name="José Alberto Sousa Torres" userId="2784cfe513e17c0c" providerId="LiveId" clId="{46443669-731A-3C45-9CF3-DA10A5CBD394}" dt="2025-09-06T22:12:05.098" v="4288"/>
          <ac:spMkLst>
            <pc:docMk/>
            <pc:sldMk cId="933849628" sldId="4460"/>
            <ac:spMk id="20" creationId="{E1351674-D873-E985-C34C-3D89D883C543}"/>
          </ac:spMkLst>
        </pc:spChg>
        <pc:spChg chg="add mod">
          <ac:chgData name="José Alberto Sousa Torres" userId="2784cfe513e17c0c" providerId="LiveId" clId="{46443669-731A-3C45-9CF3-DA10A5CBD394}" dt="2025-09-06T22:14:38.986" v="4412" actId="1076"/>
          <ac:spMkLst>
            <pc:docMk/>
            <pc:sldMk cId="933849628" sldId="4460"/>
            <ac:spMk id="21" creationId="{B87F4418-9D22-42AC-0027-40F68BF1D52C}"/>
          </ac:spMkLst>
        </pc:spChg>
        <pc:grpChg chg="mod">
          <ac:chgData name="José Alberto Sousa Torres" userId="2784cfe513e17c0c" providerId="LiveId" clId="{46443669-731A-3C45-9CF3-DA10A5CBD394}" dt="2025-09-06T22:12:06.970" v="4289" actId="1076"/>
          <ac:grpSpMkLst>
            <pc:docMk/>
            <pc:sldMk cId="933849628" sldId="4460"/>
            <ac:grpSpMk id="4" creationId="{F314A254-7F49-AC2D-9AF2-FFB58A7128F8}"/>
          </ac:grpSpMkLst>
        </pc:grpChg>
      </pc:sldChg>
      <pc:sldChg chg="modSp add modAnim">
        <pc:chgData name="José Alberto Sousa Torres" userId="2784cfe513e17c0c" providerId="LiveId" clId="{46443669-731A-3C45-9CF3-DA10A5CBD394}" dt="2025-09-06T22:15:36.855" v="4439" actId="113"/>
        <pc:sldMkLst>
          <pc:docMk/>
          <pc:sldMk cId="983867886" sldId="4461"/>
        </pc:sldMkLst>
        <pc:spChg chg="mod">
          <ac:chgData name="José Alberto Sousa Torres" userId="2784cfe513e17c0c" providerId="LiveId" clId="{46443669-731A-3C45-9CF3-DA10A5CBD394}" dt="2025-09-06T22:15:36.855" v="4439" actId="113"/>
          <ac:spMkLst>
            <pc:docMk/>
            <pc:sldMk cId="983867886" sldId="4461"/>
            <ac:spMk id="3" creationId="{41E26184-43AD-52C2-42E6-F9672C0B4BC7}"/>
          </ac:spMkLst>
        </pc:spChg>
      </pc:sldChg>
      <pc:sldChg chg="del">
        <pc:chgData name="José Alberto Sousa Torres" userId="2784cfe513e17c0c" providerId="LiveId" clId="{46443669-731A-3C45-9CF3-DA10A5CBD394}" dt="2025-08-31T22:07:56.583" v="34" actId="2696"/>
        <pc:sldMkLst>
          <pc:docMk/>
          <pc:sldMk cId="1699444022" sldId="4461"/>
        </pc:sldMkLst>
      </pc:sldChg>
      <pc:sldChg chg="modSp new mod modAnim">
        <pc:chgData name="José Alberto Sousa Torres" userId="2784cfe513e17c0c" providerId="LiveId" clId="{46443669-731A-3C45-9CF3-DA10A5CBD394}" dt="2025-09-06T22:19:38.944" v="4644"/>
        <pc:sldMkLst>
          <pc:docMk/>
          <pc:sldMk cId="79818582" sldId="4462"/>
        </pc:sldMkLst>
        <pc:spChg chg="mod">
          <ac:chgData name="José Alberto Sousa Torres" userId="2784cfe513e17c0c" providerId="LiveId" clId="{46443669-731A-3C45-9CF3-DA10A5CBD394}" dt="2025-09-06T22:17:41.804" v="4496" actId="20577"/>
          <ac:spMkLst>
            <pc:docMk/>
            <pc:sldMk cId="79818582" sldId="4462"/>
            <ac:spMk id="2" creationId="{D8FBD4B3-FB9A-F848-70DB-0E1629E3A6BD}"/>
          </ac:spMkLst>
        </pc:spChg>
        <pc:spChg chg="mod">
          <ac:chgData name="José Alberto Sousa Torres" userId="2784cfe513e17c0c" providerId="LiveId" clId="{46443669-731A-3C45-9CF3-DA10A5CBD394}" dt="2025-09-06T22:19:28.225" v="4643" actId="27636"/>
          <ac:spMkLst>
            <pc:docMk/>
            <pc:sldMk cId="79818582" sldId="4462"/>
            <ac:spMk id="3" creationId="{C59F0FA5-D452-59D3-3E71-F36C71CB6512}"/>
          </ac:spMkLst>
        </pc:spChg>
      </pc:sldChg>
      <pc:sldChg chg="del">
        <pc:chgData name="José Alberto Sousa Torres" userId="2784cfe513e17c0c" providerId="LiveId" clId="{46443669-731A-3C45-9CF3-DA10A5CBD394}" dt="2025-08-31T22:07:56.591" v="36" actId="2696"/>
        <pc:sldMkLst>
          <pc:docMk/>
          <pc:sldMk cId="4171829086" sldId="4462"/>
        </pc:sldMkLst>
      </pc:sldChg>
      <pc:sldChg chg="del">
        <pc:chgData name="José Alberto Sousa Torres" userId="2784cfe513e17c0c" providerId="LiveId" clId="{46443669-731A-3C45-9CF3-DA10A5CBD394}" dt="2025-08-31T22:07:56.594" v="41" actId="2696"/>
        <pc:sldMkLst>
          <pc:docMk/>
          <pc:sldMk cId="793403596" sldId="4463"/>
        </pc:sldMkLst>
      </pc:sldChg>
      <pc:sldChg chg="addSp delSp modSp add mod modAnim">
        <pc:chgData name="José Alberto Sousa Torres" userId="2784cfe513e17c0c" providerId="LiveId" clId="{46443669-731A-3C45-9CF3-DA10A5CBD394}" dt="2025-09-06T22:41:45.104" v="4993" actId="20577"/>
        <pc:sldMkLst>
          <pc:docMk/>
          <pc:sldMk cId="3558579135" sldId="4463"/>
        </pc:sldMkLst>
        <pc:spChg chg="mod">
          <ac:chgData name="José Alberto Sousa Torres" userId="2784cfe513e17c0c" providerId="LiveId" clId="{46443669-731A-3C45-9CF3-DA10A5CBD394}" dt="2025-09-06T22:35:29.181" v="4919" actId="20577"/>
          <ac:spMkLst>
            <pc:docMk/>
            <pc:sldMk cId="3558579135" sldId="4463"/>
            <ac:spMk id="2" creationId="{A8C36704-4B7F-6F94-DE9D-BF9C13DB3267}"/>
          </ac:spMkLst>
        </pc:spChg>
        <pc:spChg chg="mod">
          <ac:chgData name="José Alberto Sousa Torres" userId="2784cfe513e17c0c" providerId="LiveId" clId="{46443669-731A-3C45-9CF3-DA10A5CBD394}" dt="2025-09-06T22:41:45.104" v="4993" actId="20577"/>
          <ac:spMkLst>
            <pc:docMk/>
            <pc:sldMk cId="3558579135" sldId="4463"/>
            <ac:spMk id="3" creationId="{B29353B8-2708-9756-B61E-59EB75A94CAF}"/>
          </ac:spMkLst>
        </pc:spChg>
        <pc:spChg chg="del">
          <ac:chgData name="José Alberto Sousa Torres" userId="2784cfe513e17c0c" providerId="LiveId" clId="{46443669-731A-3C45-9CF3-DA10A5CBD394}" dt="2025-09-06T22:35:54.647" v="4920" actId="478"/>
          <ac:spMkLst>
            <pc:docMk/>
            <pc:sldMk cId="3558579135" sldId="4463"/>
            <ac:spMk id="4" creationId="{B6EF5A45-BE87-1C90-0388-68DB0CA21E3B}"/>
          </ac:spMkLst>
        </pc:spChg>
        <pc:spChg chg="add mod">
          <ac:chgData name="José Alberto Sousa Torres" userId="2784cfe513e17c0c" providerId="LiveId" clId="{46443669-731A-3C45-9CF3-DA10A5CBD394}" dt="2025-09-06T22:40:35.509" v="4971" actId="1076"/>
          <ac:spMkLst>
            <pc:docMk/>
            <pc:sldMk cId="3558579135" sldId="4463"/>
            <ac:spMk id="5" creationId="{42E30CD9-3EC1-B4EC-C9CB-88BAA9F8A376}"/>
          </ac:spMkLst>
        </pc:spChg>
        <pc:spChg chg="add mod">
          <ac:chgData name="José Alberto Sousa Torres" userId="2784cfe513e17c0c" providerId="LiveId" clId="{46443669-731A-3C45-9CF3-DA10A5CBD394}" dt="2025-09-06T22:40:35.509" v="4971" actId="1076"/>
          <ac:spMkLst>
            <pc:docMk/>
            <pc:sldMk cId="3558579135" sldId="4463"/>
            <ac:spMk id="6" creationId="{7C31A114-2422-555A-A849-544527B5E2C8}"/>
          </ac:spMkLst>
        </pc:spChg>
        <pc:spChg chg="add mod">
          <ac:chgData name="José Alberto Sousa Torres" userId="2784cfe513e17c0c" providerId="LiveId" clId="{46443669-731A-3C45-9CF3-DA10A5CBD394}" dt="2025-09-06T22:40:35.509" v="4971" actId="1076"/>
          <ac:spMkLst>
            <pc:docMk/>
            <pc:sldMk cId="3558579135" sldId="4463"/>
            <ac:spMk id="7" creationId="{2AC2A484-7E06-8AE1-59F9-24B8AD2CBBFC}"/>
          </ac:spMkLst>
        </pc:spChg>
        <pc:spChg chg="add mod">
          <ac:chgData name="José Alberto Sousa Torres" userId="2784cfe513e17c0c" providerId="LiveId" clId="{46443669-731A-3C45-9CF3-DA10A5CBD394}" dt="2025-09-06T22:40:35.509" v="4971" actId="1076"/>
          <ac:spMkLst>
            <pc:docMk/>
            <pc:sldMk cId="3558579135" sldId="4463"/>
            <ac:spMk id="8" creationId="{06C4C79E-CD72-0ACC-4B51-5020A9A0879C}"/>
          </ac:spMkLst>
        </pc:spChg>
        <pc:spChg chg="add mod">
          <ac:chgData name="José Alberto Sousa Torres" userId="2784cfe513e17c0c" providerId="LiveId" clId="{46443669-731A-3C45-9CF3-DA10A5CBD394}" dt="2025-09-06T22:40:35.509" v="4971" actId="1076"/>
          <ac:spMkLst>
            <pc:docMk/>
            <pc:sldMk cId="3558579135" sldId="4463"/>
            <ac:spMk id="9" creationId="{E7B72ECF-68F0-0D2D-2256-4848F3F3EB11}"/>
          </ac:spMkLst>
        </pc:spChg>
        <pc:picChg chg="add del mod">
          <ac:chgData name="José Alberto Sousa Torres" userId="2784cfe513e17c0c" providerId="LiveId" clId="{46443669-731A-3C45-9CF3-DA10A5CBD394}" dt="2025-09-06T22:39:05.537" v="4929" actId="478"/>
          <ac:picMkLst>
            <pc:docMk/>
            <pc:sldMk cId="3558579135" sldId="4463"/>
            <ac:picMk id="1026" creationId="{851827D1-BC5C-F7FC-3CD2-BD9DABAD4337}"/>
          </ac:picMkLst>
        </pc:picChg>
        <pc:cxnChg chg="add mod">
          <ac:chgData name="José Alberto Sousa Torres" userId="2784cfe513e17c0c" providerId="LiveId" clId="{46443669-731A-3C45-9CF3-DA10A5CBD394}" dt="2025-09-06T22:40:35.509" v="4971" actId="1076"/>
          <ac:cxnSpMkLst>
            <pc:docMk/>
            <pc:sldMk cId="3558579135" sldId="4463"/>
            <ac:cxnSpMk id="11" creationId="{3CA86D6C-3106-A680-E1CB-619DFD89B0A3}"/>
          </ac:cxnSpMkLst>
        </pc:cxnChg>
        <pc:cxnChg chg="add mod">
          <ac:chgData name="José Alberto Sousa Torres" userId="2784cfe513e17c0c" providerId="LiveId" clId="{46443669-731A-3C45-9CF3-DA10A5CBD394}" dt="2025-09-06T22:39:51.573" v="4950" actId="1076"/>
          <ac:cxnSpMkLst>
            <pc:docMk/>
            <pc:sldMk cId="3558579135" sldId="4463"/>
            <ac:cxnSpMk id="12" creationId="{CE2D81C2-5A24-FBB4-4AC7-B9CA10A1C846}"/>
          </ac:cxnSpMkLst>
        </pc:cxnChg>
        <pc:cxnChg chg="add mod">
          <ac:chgData name="José Alberto Sousa Torres" userId="2784cfe513e17c0c" providerId="LiveId" clId="{46443669-731A-3C45-9CF3-DA10A5CBD394}" dt="2025-09-06T22:39:58.723" v="4954" actId="14100"/>
          <ac:cxnSpMkLst>
            <pc:docMk/>
            <pc:sldMk cId="3558579135" sldId="4463"/>
            <ac:cxnSpMk id="16" creationId="{E6735323-8A00-22E9-6810-6A986B6F95A1}"/>
          </ac:cxnSpMkLst>
        </pc:cxnChg>
        <pc:cxnChg chg="add mod">
          <ac:chgData name="José Alberto Sousa Torres" userId="2784cfe513e17c0c" providerId="LiveId" clId="{46443669-731A-3C45-9CF3-DA10A5CBD394}" dt="2025-09-06T22:40:35.509" v="4971" actId="1076"/>
          <ac:cxnSpMkLst>
            <pc:docMk/>
            <pc:sldMk cId="3558579135" sldId="4463"/>
            <ac:cxnSpMk id="20" creationId="{B6EA16F6-8AE5-BC33-9903-7DF677106176}"/>
          </ac:cxnSpMkLst>
        </pc:cxnChg>
        <pc:cxnChg chg="add mod">
          <ac:chgData name="José Alberto Sousa Torres" userId="2784cfe513e17c0c" providerId="LiveId" clId="{46443669-731A-3C45-9CF3-DA10A5CBD394}" dt="2025-09-06T22:40:35.509" v="4971" actId="1076"/>
          <ac:cxnSpMkLst>
            <pc:docMk/>
            <pc:sldMk cId="3558579135" sldId="4463"/>
            <ac:cxnSpMk id="24" creationId="{1126C31B-ACF3-D876-AD53-7F3495F65336}"/>
          </ac:cxnSpMkLst>
        </pc:cxnChg>
        <pc:cxnChg chg="add mod">
          <ac:chgData name="José Alberto Sousa Torres" userId="2784cfe513e17c0c" providerId="LiveId" clId="{46443669-731A-3C45-9CF3-DA10A5CBD394}" dt="2025-09-06T22:40:35.509" v="4971" actId="1076"/>
          <ac:cxnSpMkLst>
            <pc:docMk/>
            <pc:sldMk cId="3558579135" sldId="4463"/>
            <ac:cxnSpMk id="27" creationId="{02776AA0-72B6-0F4A-26E5-27FD0ED96E7E}"/>
          </ac:cxnSpMkLst>
        </pc:cxnChg>
        <pc:cxnChg chg="add mod">
          <ac:chgData name="José Alberto Sousa Torres" userId="2784cfe513e17c0c" providerId="LiveId" clId="{46443669-731A-3C45-9CF3-DA10A5CBD394}" dt="2025-09-06T22:40:24.740" v="4967" actId="14100"/>
          <ac:cxnSpMkLst>
            <pc:docMk/>
            <pc:sldMk cId="3558579135" sldId="4463"/>
            <ac:cxnSpMk id="30" creationId="{1CC9D9F0-C873-2A3C-83B7-CCCB2ECB72FE}"/>
          </ac:cxnSpMkLst>
        </pc:cxnChg>
        <pc:cxnChg chg="add mod">
          <ac:chgData name="José Alberto Sousa Torres" userId="2784cfe513e17c0c" providerId="LiveId" clId="{46443669-731A-3C45-9CF3-DA10A5CBD394}" dt="2025-09-06T22:40:35.509" v="4971" actId="1076"/>
          <ac:cxnSpMkLst>
            <pc:docMk/>
            <pc:sldMk cId="3558579135" sldId="4463"/>
            <ac:cxnSpMk id="33" creationId="{6AF8E280-8663-1DD5-9E8A-C92678A722A6}"/>
          </ac:cxnSpMkLst>
        </pc:cxnChg>
      </pc:sldChg>
      <pc:sldChg chg="del">
        <pc:chgData name="José Alberto Sousa Torres" userId="2784cfe513e17c0c" providerId="LiveId" clId="{46443669-731A-3C45-9CF3-DA10A5CBD394}" dt="2025-08-31T22:07:56.580" v="31" actId="2696"/>
        <pc:sldMkLst>
          <pc:docMk/>
          <pc:sldMk cId="277187051" sldId="4465"/>
        </pc:sldMkLst>
      </pc:sldChg>
      <pc:sldChg chg="del">
        <pc:chgData name="José Alberto Sousa Torres" userId="2784cfe513e17c0c" providerId="LiveId" clId="{46443669-731A-3C45-9CF3-DA10A5CBD394}" dt="2025-08-31T22:07:56.608" v="48" actId="2696"/>
        <pc:sldMkLst>
          <pc:docMk/>
          <pc:sldMk cId="1463064543" sldId="4466"/>
        </pc:sldMkLst>
      </pc:sldChg>
      <pc:sldChg chg="del">
        <pc:chgData name="José Alberto Sousa Torres" userId="2784cfe513e17c0c" providerId="LiveId" clId="{46443669-731A-3C45-9CF3-DA10A5CBD394}" dt="2025-08-31T22:07:56.597" v="43" actId="2696"/>
        <pc:sldMkLst>
          <pc:docMk/>
          <pc:sldMk cId="3583092114" sldId="4467"/>
        </pc:sldMkLst>
      </pc:sldChg>
      <pc:sldChg chg="del">
        <pc:chgData name="José Alberto Sousa Torres" userId="2784cfe513e17c0c" providerId="LiveId" clId="{46443669-731A-3C45-9CF3-DA10A5CBD394}" dt="2025-08-31T22:07:56.574" v="26" actId="2696"/>
        <pc:sldMkLst>
          <pc:docMk/>
          <pc:sldMk cId="1686764353" sldId="4468"/>
        </pc:sldMkLst>
      </pc:sldChg>
      <pc:sldChg chg="del">
        <pc:chgData name="José Alberto Sousa Torres" userId="2784cfe513e17c0c" providerId="LiveId" clId="{46443669-731A-3C45-9CF3-DA10A5CBD394}" dt="2025-08-31T22:07:56.568" v="21" actId="2696"/>
        <pc:sldMkLst>
          <pc:docMk/>
          <pc:sldMk cId="4122965800" sldId="4470"/>
        </pc:sldMkLst>
      </pc:sldChg>
      <pc:sldChg chg="del">
        <pc:chgData name="José Alberto Sousa Torres" userId="2784cfe513e17c0c" providerId="LiveId" clId="{46443669-731A-3C45-9CF3-DA10A5CBD394}" dt="2025-08-31T22:07:56.581" v="32" actId="2696"/>
        <pc:sldMkLst>
          <pc:docMk/>
          <pc:sldMk cId="2437496568" sldId="447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77B5CD16-D9C1-C5F8-8A7A-74B51F506F9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1E8F303-4798-1E89-8D7B-AE9045A21A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70EB11-B460-ED4B-868D-5535F933E862}" type="datetimeFigureOut">
              <a:rPr lang="pt-BR" smtClean="0"/>
              <a:t>19/09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83CF519-2CC1-74FF-44F0-58615044DF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03A6C1B-FB14-0BF7-5074-7D7CBED4FE5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814EF4-6561-DA4C-BAF1-E4D06ED5EFB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750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1165-D7CC-4114-9AEA-BA9A3883B4AF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9F812-2989-4AC2-9550-F5B672FA743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8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511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35A4DB-EC5C-0221-6AB6-28CA0242E5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485D0B-06B2-BA1E-478C-6DD322261D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BCD739-C7B5-9D39-481E-506A72280E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C290ED-7415-2217-B35D-5CB1AC2003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808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1BE2CB-927E-4ECA-A119-454FF0E51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707F5D-E9A0-4285-87E8-812FCADD7B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237A60-CFF9-48B6-BF9B-62E74659A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162D13-DE68-4BBC-8E1A-ECA63044F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6C8BED-487E-4C3B-8BED-9E2E7E9E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19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Imagem 5">
            <a:extLst>
              <a:ext uri="{FF2B5EF4-FFF2-40B4-BE49-F238E27FC236}">
                <a16:creationId xmlns:a16="http://schemas.microsoft.com/office/drawing/2014/main" id="{AE147F6F-06BA-7116-0C0C-3C00FA9218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71825"/>
          </a:xfrm>
        </p:spPr>
        <p:txBody>
          <a:bodyPr/>
          <a:lstStyle/>
          <a:p>
            <a:endParaRPr lang="pt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8B4034-C119-6BA5-D9A6-791C8462A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10515600" cy="13255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6D1561B1-090F-2830-303D-4367A8EF5C63}"/>
              </a:ext>
            </a:extLst>
          </p:cNvPr>
          <p:cNvGrpSpPr/>
          <p:nvPr userDrawn="1"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F16EE94-7EA1-E147-95B9-915DA8B5BA57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4FB5DB-3102-9ABC-47F0-43542F81EC4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2D3913C-B0E2-46CE-1BF6-1F5680ADE0C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37781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8B4034-C119-6BA5-D9A6-791C8462A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10515600" cy="13255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6D1561B1-090F-2830-303D-4367A8EF5C63}"/>
              </a:ext>
            </a:extLst>
          </p:cNvPr>
          <p:cNvGrpSpPr/>
          <p:nvPr userDrawn="1"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F16EE94-7EA1-E147-95B9-915DA8B5BA57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4FB5DB-3102-9ABC-47F0-43542F81EC4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2D3913C-B0E2-46CE-1BF6-1F5680ADE0C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2645C671-86A0-9CA2-5100-6426297E2C7E}"/>
              </a:ext>
            </a:extLst>
          </p:cNvPr>
          <p:cNvGrpSpPr/>
          <p:nvPr userDrawn="1"/>
        </p:nvGrpSpPr>
        <p:grpSpPr>
          <a:xfrm>
            <a:off x="7992607" y="-149376"/>
            <a:ext cx="5888537" cy="6988649"/>
            <a:chOff x="7992607" y="-149376"/>
            <a:chExt cx="5888537" cy="6988649"/>
          </a:xfrm>
        </p:grpSpPr>
        <p:pic>
          <p:nvPicPr>
            <p:cNvPr id="9" name="Imagem 8" descr="Pessoa que trabalha em casa">
              <a:extLst>
                <a:ext uri="{FF2B5EF4-FFF2-40B4-BE49-F238E27FC236}">
                  <a16:creationId xmlns:a16="http://schemas.microsoft.com/office/drawing/2014/main" id="{86BEB38A-9A9A-007A-CBDB-414B74A3F0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78" t="131" r="577"/>
            <a:stretch/>
          </p:blipFill>
          <p:spPr>
            <a:xfrm>
              <a:off x="7992607" y="-18281"/>
              <a:ext cx="4498397" cy="6857554"/>
            </a:xfrm>
            <a:custGeom>
              <a:avLst/>
              <a:gdLst>
                <a:gd name="connsiteX0" fmla="*/ 2337965 w 4498397"/>
                <a:gd name="connsiteY0" fmla="*/ 0 h 6857554"/>
                <a:gd name="connsiteX1" fmla="*/ 4498397 w 4498397"/>
                <a:gd name="connsiteY1" fmla="*/ 1 h 6857554"/>
                <a:gd name="connsiteX2" fmla="*/ 4225254 w 4498397"/>
                <a:gd name="connsiteY2" fmla="*/ 1 h 6857554"/>
                <a:gd name="connsiteX3" fmla="*/ 4225255 w 4498397"/>
                <a:gd name="connsiteY3" fmla="*/ 6857554 h 6857554"/>
                <a:gd name="connsiteX4" fmla="*/ 3866969 w 4498397"/>
                <a:gd name="connsiteY4" fmla="*/ 6857554 h 6857554"/>
                <a:gd name="connsiteX5" fmla="*/ 169255 w 4498397"/>
                <a:gd name="connsiteY5" fmla="*/ 4999268 h 6857554"/>
                <a:gd name="connsiteX6" fmla="*/ 32767 w 4498397"/>
                <a:gd name="connsiteY6" fmla="*/ 4587005 h 685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98397" h="6857554">
                  <a:moveTo>
                    <a:pt x="2337965" y="0"/>
                  </a:moveTo>
                  <a:lnTo>
                    <a:pt x="4498397" y="1"/>
                  </a:lnTo>
                  <a:lnTo>
                    <a:pt x="4225254" y="1"/>
                  </a:lnTo>
                  <a:lnTo>
                    <a:pt x="4225255" y="6857554"/>
                  </a:lnTo>
                  <a:lnTo>
                    <a:pt x="3866969" y="6857554"/>
                  </a:lnTo>
                  <a:lnTo>
                    <a:pt x="169255" y="4999268"/>
                  </a:lnTo>
                  <a:cubicBezTo>
                    <a:pt x="17721" y="4923115"/>
                    <a:pt x="-43387" y="4738538"/>
                    <a:pt x="32767" y="4587005"/>
                  </a:cubicBezTo>
                  <a:close/>
                </a:path>
              </a:pathLst>
            </a:custGeom>
          </p:spPr>
        </p:pic>
        <p:sp>
          <p:nvSpPr>
            <p:cNvPr id="10" name="Freeform: Shape 99">
              <a:extLst>
                <a:ext uri="{FF2B5EF4-FFF2-40B4-BE49-F238E27FC236}">
                  <a16:creationId xmlns:a16="http://schemas.microsoft.com/office/drawing/2014/main" id="{EB507F54-D75B-8FDC-2983-3D8534EFD13F}"/>
                </a:ext>
              </a:extLst>
            </p:cNvPr>
            <p:cNvSpPr/>
            <p:nvPr userDrawn="1"/>
          </p:nvSpPr>
          <p:spPr>
            <a:xfrm rot="1600909">
              <a:off x="9064367" y="-149376"/>
              <a:ext cx="4816777" cy="6420154"/>
            </a:xfrm>
            <a:custGeom>
              <a:avLst/>
              <a:gdLst>
                <a:gd name="connsiteX0" fmla="*/ 0 w 4765805"/>
                <a:gd name="connsiteY0" fmla="*/ 970110 h 6410853"/>
                <a:gd name="connsiteX1" fmla="*/ 1930376 w 4765805"/>
                <a:gd name="connsiteY1" fmla="*/ 0 h 6410853"/>
                <a:gd name="connsiteX2" fmla="*/ 1686319 w 4765805"/>
                <a:gd name="connsiteY2" fmla="*/ 122651 h 6410853"/>
                <a:gd name="connsiteX3" fmla="*/ 4765805 w 4765805"/>
                <a:gd name="connsiteY3" fmla="*/ 6250369 h 6410853"/>
                <a:gd name="connsiteX4" fmla="*/ 4446464 w 4765805"/>
                <a:gd name="connsiteY4" fmla="*/ 6410853 h 6410853"/>
                <a:gd name="connsiteX5" fmla="*/ 307075 w 4765805"/>
                <a:gd name="connsiteY5" fmla="*/ 6410853 h 6410853"/>
                <a:gd name="connsiteX6" fmla="*/ 0 w 4765805"/>
                <a:gd name="connsiteY6" fmla="*/ 6103778 h 6410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5805" h="6410853">
                  <a:moveTo>
                    <a:pt x="0" y="970110"/>
                  </a:moveTo>
                  <a:lnTo>
                    <a:pt x="1930376" y="0"/>
                  </a:lnTo>
                  <a:lnTo>
                    <a:pt x="1686319" y="122651"/>
                  </a:lnTo>
                  <a:lnTo>
                    <a:pt x="4765805" y="6250369"/>
                  </a:lnTo>
                  <a:lnTo>
                    <a:pt x="4446464" y="6410853"/>
                  </a:lnTo>
                  <a:lnTo>
                    <a:pt x="307075" y="6410853"/>
                  </a:lnTo>
                  <a:cubicBezTo>
                    <a:pt x="137482" y="6410853"/>
                    <a:pt x="0" y="6273371"/>
                    <a:pt x="0" y="6103778"/>
                  </a:cubicBezTo>
                  <a:close/>
                </a:path>
              </a:pathLst>
            </a:custGeom>
            <a:solidFill>
              <a:srgbClr val="000000">
                <a:alpha val="5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18" name="Picture 2">
            <a:extLst>
              <a:ext uri="{FF2B5EF4-FFF2-40B4-BE49-F238E27FC236}">
                <a16:creationId xmlns:a16="http://schemas.microsoft.com/office/drawing/2014/main" id="{F5034A85-FC15-B92D-24BD-E28091B5C6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4772" y="6034206"/>
            <a:ext cx="575257" cy="64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7274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BCC47-EDBE-4B21-92F5-86F644322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AF4F7A-8564-48FE-8B6C-6C609332E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E615B8-7F62-4C6C-BBA0-CF6868399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84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DA5BA-4DCF-4620-857B-5720B1769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06997-A92F-4C83-AB8D-417741D770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E82559-5E68-421E-8EF0-87BD6C1306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E955CB-9C1C-4BCE-A077-AB772D368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FEC6FE-97F3-41C7-9E30-708583715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E040D0-51C5-429B-810D-D631A5CC3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686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1B98B-9F25-4753-87F4-21C342C68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FE7F2B-643F-4AA7-8370-5C7086D0DD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431502-E7A0-4441-9B15-55FADD9B8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CF0080-7AF8-4DE6-A3CE-AB2346117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F5A7C9-68F1-41B3-BA02-DEBF535D5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B80D7B-6012-4DBB-B317-CD9EDACE7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667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C7D00-370F-4C54-BEAC-D77B3AECF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B476DB-A6E1-4589-A1E6-035048CA42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4001A-5F3B-4FE4-A795-3B09BBE87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5069EB-DB39-4C97-ADCA-138C8EBBE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197B06-CE87-453E-B691-BB6461B5E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911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9998C-3BDA-43D4-991D-6CFBD91CF1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2BACDC-4851-4B7A-BF29-BB5E68CCF9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B8E39-8428-44EE-A046-3D48C8649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0D6251-7B74-4A7B-AFD0-1C5F40120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697550-297B-4E00-B3AF-38816412A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2529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671819-9DFA-2F4A-8E9B-D50CC3AD5F1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762956" y="1390619"/>
            <a:ext cx="8767360" cy="5002162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71421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A6D03A8-38DA-1141-93A4-105CC5C37F93}"/>
              </a:ext>
            </a:extLst>
          </p:cNvPr>
          <p:cNvSpPr/>
          <p:nvPr userDrawn="1"/>
        </p:nvSpPr>
        <p:spPr>
          <a:xfrm>
            <a:off x="11109043" y="314325"/>
            <a:ext cx="404918" cy="395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Nunito Sans ExtraLight" pitchFamily="2" charset="77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C62909-C37E-EF49-BB9D-4A406142B3F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0611" y="381001"/>
            <a:ext cx="6097588" cy="6096000"/>
          </a:xfrm>
          <a:custGeom>
            <a:avLst/>
            <a:gdLst>
              <a:gd name="connsiteX0" fmla="*/ 6096000 w 12192000"/>
              <a:gd name="connsiteY0" fmla="*/ 0 h 12192000"/>
              <a:gd name="connsiteX1" fmla="*/ 12192000 w 12192000"/>
              <a:gd name="connsiteY1" fmla="*/ 6096000 h 12192000"/>
              <a:gd name="connsiteX2" fmla="*/ 6096000 w 12192000"/>
              <a:gd name="connsiteY2" fmla="*/ 12192000 h 12192000"/>
              <a:gd name="connsiteX3" fmla="*/ 0 w 12192000"/>
              <a:gd name="connsiteY3" fmla="*/ 6096000 h 12192000"/>
              <a:gd name="connsiteX4" fmla="*/ 6096000 w 12192000"/>
              <a:gd name="connsiteY4" fmla="*/ 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12192000">
                <a:moveTo>
                  <a:pt x="6096000" y="0"/>
                </a:moveTo>
                <a:cubicBezTo>
                  <a:pt x="9462728" y="0"/>
                  <a:pt x="12192000" y="2729272"/>
                  <a:pt x="12192000" y="6096000"/>
                </a:cubicBezTo>
                <a:cubicBezTo>
                  <a:pt x="12192000" y="9462728"/>
                  <a:pt x="9462728" y="12192000"/>
                  <a:pt x="6096000" y="12192000"/>
                </a:cubicBezTo>
                <a:cubicBezTo>
                  <a:pt x="2729272" y="12192000"/>
                  <a:pt x="0" y="9462728"/>
                  <a:pt x="0" y="6096000"/>
                </a:cubicBezTo>
                <a:cubicBezTo>
                  <a:pt x="0" y="2729272"/>
                  <a:pt x="2729272" y="0"/>
                  <a:pt x="6096000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7260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CA589E-3BAE-2C88-0E6E-5D1154CF5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7054DBB-C45E-808A-4482-588E0B42F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A1D6865-4683-DB81-0310-E96D3C0D5A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2DEE5-1D9F-4A49-BAAC-78F72C4FCAA8}" type="datetimeFigureOut">
              <a:rPr lang="pt-BR" smtClean="0"/>
              <a:t>19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449A85C-2D88-15F2-2400-0DDAADBFCC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4ADD989-D372-5DB0-4BFE-15F52CA8D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164AD9-02CE-2341-8C34-77AC35CF17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05164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6ECE3-2645-4BAA-83C6-EBB973F59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10515600" cy="13255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7DD8A-AA9D-4746-A3FC-42FE7D88E3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10515600" cy="41906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7E522-C4D4-430C-8FBF-B78769A26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E5A2E-6573-46A5-B5F8-BD6277988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D36C4-049A-43F2-9676-C014FB3FB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grpSp>
        <p:nvGrpSpPr>
          <p:cNvPr id="8" name="Group 10">
            <a:extLst>
              <a:ext uri="{FF2B5EF4-FFF2-40B4-BE49-F238E27FC236}">
                <a16:creationId xmlns:a16="http://schemas.microsoft.com/office/drawing/2014/main" id="{8A276861-00CD-CAC7-9DDE-D489BA4C7572}"/>
              </a:ext>
            </a:extLst>
          </p:cNvPr>
          <p:cNvGrpSpPr/>
          <p:nvPr userDrawn="1"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19B41E5-25BE-485F-1DCD-45B8DC6BDED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0D280AD-13D3-CCD3-422A-BE0C503819A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5FA3383-B75F-D970-D71A-4CFD182BCB84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721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6ECE3-2645-4BAA-83C6-EBB973F59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948874" y="2561431"/>
            <a:ext cx="5905499" cy="13255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7DD8A-AA9D-4746-A3FC-42FE7D88E3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46453" y="271844"/>
            <a:ext cx="9164457" cy="59051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7E522-C4D4-430C-8FBF-B78769A26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E5A2E-6573-46A5-B5F8-BD6277988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D36C4-049A-43F2-9676-C014FB3FB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grpSp>
        <p:nvGrpSpPr>
          <p:cNvPr id="8" name="Group 10">
            <a:extLst>
              <a:ext uri="{FF2B5EF4-FFF2-40B4-BE49-F238E27FC236}">
                <a16:creationId xmlns:a16="http://schemas.microsoft.com/office/drawing/2014/main" id="{8A276861-00CD-CAC7-9DDE-D489BA4C7572}"/>
              </a:ext>
            </a:extLst>
          </p:cNvPr>
          <p:cNvGrpSpPr/>
          <p:nvPr userDrawn="1"/>
        </p:nvGrpSpPr>
        <p:grpSpPr>
          <a:xfrm rot="16200000">
            <a:off x="199731" y="5668896"/>
            <a:ext cx="622326" cy="131948"/>
            <a:chOff x="692712" y="619597"/>
            <a:chExt cx="622326" cy="13194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19B41E5-25BE-485F-1DCD-45B8DC6BDED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0D280AD-13D3-CCD3-422A-BE0C503819A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5FA3383-B75F-D970-D71A-4CFD182BCB84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4897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59F1E-8E87-4F34-B677-536FEEAA3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156A6-87A3-405A-8D9F-277DE5D883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935AD-1F2B-465A-9CF0-28AB9560A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6B5AB1-B975-4EEF-BD4F-8D741A718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89726C-1C4E-4A4F-BA30-B686EE4B7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511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B9C53-5568-4415-9448-FD8221E48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C2FC3-E11E-469E-8BC2-B3572576C0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F7E116-F30B-473F-8FF7-C2672188AB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9B51B2-51B4-445C-AB4F-4051967BF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A8085E-EBB6-4021-A018-FB6DE2F2B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67048F-480D-42AD-84B1-0CB0294CE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0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96703-5F20-430E-83DD-CF0FA7AC7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4B1176-7076-414F-82AF-A22A1DF27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0AD683-91A7-4FA3-8CFE-B69A971D83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9756-36AA-4408-A350-6091FFEB04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01C064-CEA4-435E-8245-BAA43B40D4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4A1F18-02DD-4276-8F7F-4D18C444F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0FCCE2-D7E5-443D-B5D4-ABEF547F4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2661B0-13BF-4412-BE11-DEA73A17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4088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8B4034-C119-6BA5-D9A6-791C8462A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10515600" cy="13255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6D1561B1-090F-2830-303D-4367A8EF5C63}"/>
              </a:ext>
            </a:extLst>
          </p:cNvPr>
          <p:cNvGrpSpPr/>
          <p:nvPr userDrawn="1"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F16EE94-7EA1-E147-95B9-915DA8B5BA57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4FB5DB-3102-9ABC-47F0-43542F81EC4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2D3913C-B0E2-46CE-1BF6-1F5680ADE0C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43439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8B4034-C119-6BA5-D9A6-791C8462A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10515600" cy="13255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6D1561B1-090F-2830-303D-4367A8EF5C63}"/>
              </a:ext>
            </a:extLst>
          </p:cNvPr>
          <p:cNvGrpSpPr/>
          <p:nvPr userDrawn="1"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F16EE94-7EA1-E147-95B9-915DA8B5BA57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4FB5DB-3102-9ABC-47F0-43542F81EC4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2D3913C-B0E2-46CE-1BF6-1F5680ADE0C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Espaço Reservado para Tabela 5">
            <a:extLst>
              <a:ext uri="{FF2B5EF4-FFF2-40B4-BE49-F238E27FC236}">
                <a16:creationId xmlns:a16="http://schemas.microsoft.com/office/drawing/2014/main" id="{15FAE694-359E-6CA3-EE20-BE663F0ACE72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573088" y="2028825"/>
            <a:ext cx="10515600" cy="4143375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35709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Espaço Reservado para Imagem 52">
            <a:extLst>
              <a:ext uri="{FF2B5EF4-FFF2-40B4-BE49-F238E27FC236}">
                <a16:creationId xmlns:a16="http://schemas.microsoft.com/office/drawing/2014/main" id="{4F0B168D-875B-E29A-F3EE-F6B77E9584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75313" cy="6286500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6D1561B1-090F-2830-303D-4367A8EF5C63}"/>
              </a:ext>
            </a:extLst>
          </p:cNvPr>
          <p:cNvGrpSpPr/>
          <p:nvPr userDrawn="1"/>
        </p:nvGrpSpPr>
        <p:grpSpPr>
          <a:xfrm>
            <a:off x="6179110" y="492597"/>
            <a:ext cx="622326" cy="131948"/>
            <a:chOff x="692712" y="619597"/>
            <a:chExt cx="622326" cy="13194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F16EE94-7EA1-E147-95B9-915DA8B5BA57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4FB5DB-3102-9ABC-47F0-43542F81EC4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2D3913C-B0E2-46CE-1BF6-1F5680ADE0C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268B4034-C119-6BA5-D9A6-791C8462A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014" y="576690"/>
            <a:ext cx="5809202" cy="13255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36E6C36-39C9-F4B4-4600-39984B915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22014" y="2090693"/>
            <a:ext cx="5809202" cy="41906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2313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210B78-E646-4F72-A11C-7D9EB35C9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82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83" imgH="384" progId="TCLayout.ActiveDocument.1">
                  <p:embed/>
                </p:oleObj>
              </mc:Choice>
              <mc:Fallback>
                <p:oleObj name="think-cell Slide" r:id="rId22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9210B78-E646-4F72-A11C-7D9EB35C9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8C4BB2-4A95-4E4F-9698-B1397883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A3F2-C53C-41CA-8076-D83B5A5D11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35310-5DAF-461F-8684-B97F73D133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D6AC30-AA56-4AB3-A866-C9468BDABC33}" type="datetimeFigureOut">
              <a:rPr lang="en-US" smtClean="0"/>
              <a:t>9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C6FE24-00FE-4015-8546-DA1E145F9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3A640-4814-441A-9CA3-D424EBCB3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CDF40-ABD2-432E-AB3A-B1A31FCCDBA0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CB3D12B-6496-8A49-0C2E-FF10329B95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4772" y="6034206"/>
            <a:ext cx="575257" cy="64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2217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51" r:id="rId4"/>
    <p:sldLayoutId id="2147483652" r:id="rId5"/>
    <p:sldLayoutId id="2147483653" r:id="rId6"/>
    <p:sldLayoutId id="2147483654" r:id="rId7"/>
    <p:sldLayoutId id="2147483667" r:id="rId8"/>
    <p:sldLayoutId id="2147483662" r:id="rId9"/>
    <p:sldLayoutId id="2147483661" r:id="rId10"/>
    <p:sldLayoutId id="2147483660" r:id="rId11"/>
    <p:sldLayoutId id="2147483655" r:id="rId12"/>
    <p:sldLayoutId id="2147483656" r:id="rId13"/>
    <p:sldLayoutId id="2147483657" r:id="rId14"/>
    <p:sldLayoutId id="2147483658" r:id="rId15"/>
    <p:sldLayoutId id="2147483659" r:id="rId16"/>
    <p:sldLayoutId id="2147483665" r:id="rId17"/>
    <p:sldLayoutId id="2147483666" r:id="rId18"/>
    <p:sldLayoutId id="2147483668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pos="3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03B041FA-6D68-6BCC-6991-05CCEFA674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561"/>
          <a:stretch/>
        </p:blipFill>
        <p:spPr>
          <a:xfrm>
            <a:off x="-1" y="5985"/>
            <a:ext cx="12203113" cy="5242381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4D42-DF76-4E5E-95B2-3C38796B6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45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DF4D42-DF76-4E5E-95B2-3C38796B6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249C0BE-DA64-4358-845F-0DA8776B432B}"/>
              </a:ext>
            </a:extLst>
          </p:cNvPr>
          <p:cNvSpPr/>
          <p:nvPr/>
        </p:nvSpPr>
        <p:spPr>
          <a:xfrm>
            <a:off x="8798" y="0"/>
            <a:ext cx="12192000" cy="5257800"/>
          </a:xfrm>
          <a:prstGeom prst="rect">
            <a:avLst/>
          </a:prstGeom>
          <a:solidFill>
            <a:srgbClr val="000000">
              <a:alpha val="7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7" name="Title 3">
            <a:extLst>
              <a:ext uri="{FF2B5EF4-FFF2-40B4-BE49-F238E27FC236}">
                <a16:creationId xmlns:a16="http://schemas.microsoft.com/office/drawing/2014/main" id="{9B557F9A-0C3C-49F0-9227-71033CB7E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2234" y="2178914"/>
            <a:ext cx="5452900" cy="2528175"/>
          </a:xfrm>
        </p:spPr>
        <p:txBody>
          <a:bodyPr vert="horz">
            <a:normAutofit/>
          </a:bodyPr>
          <a:lstStyle/>
          <a:p>
            <a:pPr algn="l"/>
            <a:r>
              <a:rPr lang="en-US" sz="3200" dirty="0">
                <a:solidFill>
                  <a:schemeClr val="bg1"/>
                </a:solidFill>
                <a:latin typeface="Alexandria Medium" pitchFamily="2" charset="-78"/>
                <a:cs typeface="Alexandria Medium" pitchFamily="2" charset="-78"/>
              </a:rPr>
              <a:t>Teoria dos</a:t>
            </a:r>
            <a:br>
              <a:rPr lang="en-US" sz="4000" dirty="0">
                <a:solidFill>
                  <a:schemeClr val="bg1"/>
                </a:solidFill>
                <a:latin typeface="Alexandria Medium" pitchFamily="2" charset="-78"/>
                <a:cs typeface="Alexandria Medium" pitchFamily="2" charset="-78"/>
              </a:rPr>
            </a:br>
            <a:r>
              <a:rPr lang="en-US" sz="5400" dirty="0">
                <a:solidFill>
                  <a:srgbClr val="A6ACE4"/>
                </a:solidFill>
                <a:latin typeface="Alexandria Medium" pitchFamily="2" charset="-78"/>
                <a:cs typeface="Alexandria Medium" pitchFamily="2" charset="-78"/>
              </a:rPr>
              <a:t>GRAF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5B72EF2-7D1A-BBC8-4E33-14105F7838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392" y="2221740"/>
            <a:ext cx="575257" cy="64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3">
            <a:extLst>
              <a:ext uri="{FF2B5EF4-FFF2-40B4-BE49-F238E27FC236}">
                <a16:creationId xmlns:a16="http://schemas.microsoft.com/office/drawing/2014/main" id="{6AB58C0D-18BB-FEB5-1063-06383C01B1EA}"/>
              </a:ext>
            </a:extLst>
          </p:cNvPr>
          <p:cNvSpPr txBox="1">
            <a:spLocks/>
          </p:cNvSpPr>
          <p:nvPr/>
        </p:nvSpPr>
        <p:spPr>
          <a:xfrm>
            <a:off x="667437" y="5769322"/>
            <a:ext cx="6832524" cy="51745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dirty="0">
                <a:latin typeface="Alexandria Medium" pitchFamily="2" charset="-78"/>
                <a:cs typeface="Alexandria Medium" pitchFamily="2" charset="-78"/>
              </a:rPr>
              <a:t>Prof. José Alberto S. Torres</a:t>
            </a:r>
            <a:endParaRPr lang="en-US" sz="4400" dirty="0">
              <a:latin typeface="Alexandria Medium" pitchFamily="2" charset="-78"/>
              <a:cs typeface="Alexandria Medium" pitchFamily="2" charset="-78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AFB9DA-6064-C3C3-5E07-BEC5D12058AB}"/>
              </a:ext>
            </a:extLst>
          </p:cNvPr>
          <p:cNvSpPr txBox="1">
            <a:spLocks/>
          </p:cNvSpPr>
          <p:nvPr/>
        </p:nvSpPr>
        <p:spPr>
          <a:xfrm>
            <a:off x="632234" y="5144084"/>
            <a:ext cx="6832524" cy="69218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dirty="0">
                <a:latin typeface="Alexandria Medium" pitchFamily="2" charset="-78"/>
                <a:cs typeface="Alexandria Medium" pitchFamily="2" charset="-78"/>
              </a:rPr>
              <a:t>Aula 05: </a:t>
            </a:r>
            <a:r>
              <a:rPr lang="en-US" sz="2400">
                <a:latin typeface="Alexandria Medium" pitchFamily="2" charset="-78"/>
                <a:cs typeface="Alexandria Medium" pitchFamily="2" charset="-78"/>
              </a:rPr>
              <a:t>Percurso </a:t>
            </a:r>
            <a:r>
              <a:rPr lang="en-US" sz="2400" dirty="0" err="1">
                <a:latin typeface="Alexandria Medium" pitchFamily="2" charset="-78"/>
                <a:cs typeface="Alexandria Medium" pitchFamily="2" charset="-78"/>
              </a:rPr>
              <a:t>em</a:t>
            </a:r>
            <a:r>
              <a:rPr lang="en-US" sz="2400" dirty="0">
                <a:latin typeface="Alexandria Medium" pitchFamily="2" charset="-78"/>
                <a:cs typeface="Alexandria Medium" pitchFamily="2" charset="-78"/>
              </a:rPr>
              <a:t> </a:t>
            </a:r>
            <a:r>
              <a:rPr lang="en-US" sz="2400" dirty="0" err="1">
                <a:latin typeface="Alexandria Medium" pitchFamily="2" charset="-78"/>
                <a:cs typeface="Alexandria Medium" pitchFamily="2" charset="-78"/>
              </a:rPr>
              <a:t>Grafos</a:t>
            </a:r>
            <a:endParaRPr lang="en-US" sz="4400" b="1" dirty="0">
              <a:latin typeface="Alexandria ExtraBold" pitchFamily="2" charset="-78"/>
              <a:cs typeface="Alexandria ExtraBold" pitchFamily="2" charset="-78"/>
            </a:endParaRPr>
          </a:p>
        </p:txBody>
      </p:sp>
      <p:pic>
        <p:nvPicPr>
          <p:cNvPr id="1032" name="Picture 8" descr="Graph Neural Networks (GraphSAGE) | by Gautam Choudhary | Medium">
            <a:extLst>
              <a:ext uri="{FF2B5EF4-FFF2-40B4-BE49-F238E27FC236}">
                <a16:creationId xmlns:a16="http://schemas.microsoft.com/office/drawing/2014/main" id="{645F45A0-704D-DE45-B487-67DC1D246D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619" y="626622"/>
            <a:ext cx="5452899" cy="4308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9609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14A78B9-593F-7408-2AE3-27942AA0D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aminho</a:t>
            </a:r>
            <a:r>
              <a:rPr lang="pt-BR" dirty="0"/>
              <a:t> (path):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B7A15F6-3BA2-8839-37BC-C9CC4F9F2E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É </a:t>
            </a:r>
            <a:r>
              <a:rPr lang="pt-BR" b="1" dirty="0"/>
              <a:t>um passeio em que todos os vértices são diferentes entre si</a:t>
            </a:r>
            <a:r>
              <a:rPr lang="pt-BR" dirty="0"/>
              <a:t>, ou seja, que não ocorre repetição. </a:t>
            </a:r>
          </a:p>
          <a:p>
            <a:r>
              <a:rPr lang="pt-BR" dirty="0"/>
              <a:t>Como não pode ocorrer repetição de vértices então </a:t>
            </a:r>
            <a:r>
              <a:rPr lang="pt-BR" b="1" dirty="0"/>
              <a:t>também não ocorrem repetições de arestas</a:t>
            </a:r>
            <a:r>
              <a:rPr lang="pt-BR" dirty="0"/>
              <a:t>. </a:t>
            </a:r>
          </a:p>
          <a:p>
            <a:r>
              <a:rPr lang="pt-BR" b="1" dirty="0"/>
              <a:t>Todo caminho é uma trilha</a:t>
            </a:r>
            <a:r>
              <a:rPr lang="pt-BR" dirty="0"/>
              <a:t>, porém </a:t>
            </a:r>
            <a:r>
              <a:rPr lang="pt-BR" b="1" dirty="0"/>
              <a:t>nem toda trilha é um caminho</a:t>
            </a:r>
            <a:r>
              <a:rPr lang="pt-BR" dirty="0"/>
              <a:t>, pois na trilha podem ocorrer repetições de vértices. </a:t>
            </a:r>
          </a:p>
        </p:txBody>
      </p:sp>
    </p:spTree>
    <p:extLst>
      <p:ext uri="{BB962C8B-B14F-4D97-AF65-F5344CB8AC3E}">
        <p14:creationId xmlns:p14="http://schemas.microsoft.com/office/powerpoint/2010/main" val="3576222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50E403-1208-4938-3191-82E8FFBBA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8A30726-E5A1-0DC2-120B-5CBF75F19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aminho</a:t>
            </a:r>
            <a:r>
              <a:rPr lang="pt-BR" dirty="0"/>
              <a:t> (path):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C9E9D24-4596-2751-1DBE-F8B21E48FD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7130991" cy="4190617"/>
          </a:xfrm>
        </p:spPr>
        <p:txBody>
          <a:bodyPr>
            <a:normAutofit/>
          </a:bodyPr>
          <a:lstStyle/>
          <a:p>
            <a:r>
              <a:rPr lang="pt-BR" dirty="0"/>
              <a:t>Para ilustrar o caminho devemos indicar </a:t>
            </a:r>
            <a:r>
              <a:rPr lang="pt-BR" b="1" dirty="0"/>
              <a:t>qual é o vértice de origem e qual o de destino</a:t>
            </a:r>
            <a:r>
              <a:rPr lang="pt-BR" dirty="0"/>
              <a:t>, e então indicar quais arestas e em qual ordem devem ser percorridas para chegar ao objetivo final. </a:t>
            </a:r>
          </a:p>
          <a:p>
            <a:r>
              <a:rPr lang="pt-BR" dirty="0"/>
              <a:t>Tendo o vértice </a:t>
            </a:r>
            <a:r>
              <a:rPr lang="pt-BR" dirty="0" err="1"/>
              <a:t>F</a:t>
            </a:r>
            <a:r>
              <a:rPr lang="pt-BR" dirty="0"/>
              <a:t> de origem e querendo chegar ao C de destino:</a:t>
            </a:r>
          </a:p>
          <a:p>
            <a:r>
              <a:rPr lang="pt-BR" dirty="0"/>
              <a:t>Caminho = F-D-C</a:t>
            </a:r>
          </a:p>
        </p:txBody>
      </p:sp>
      <p:pic>
        <p:nvPicPr>
          <p:cNvPr id="5" name="Imagem 4" descr="Diagrama&#10;&#10;O conteúdo gerado por IA pode estar incorreto.">
            <a:extLst>
              <a:ext uri="{FF2B5EF4-FFF2-40B4-BE49-F238E27FC236}">
                <a16:creationId xmlns:a16="http://schemas.microsoft.com/office/drawing/2014/main" id="{6A186BDF-11EA-B612-4432-98A9916E27F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4029"/>
          <a:stretch/>
        </p:blipFill>
        <p:spPr>
          <a:xfrm>
            <a:off x="7854282" y="1902253"/>
            <a:ext cx="4260080" cy="3420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937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C01FE82-0DCE-DB1D-51E6-5D92EFAB4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aminho mínim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302E820-1B93-6229-D6D3-95AB494108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Em</a:t>
            </a:r>
            <a:r>
              <a:rPr lang="pt-BR" b="1" dirty="0"/>
              <a:t> </a:t>
            </a:r>
            <a:r>
              <a:rPr lang="pt-BR" dirty="0"/>
              <a:t>um </a:t>
            </a:r>
            <a:r>
              <a:rPr lang="pt-BR" b="1" dirty="0"/>
              <a:t>grafo ponderado</a:t>
            </a:r>
            <a:r>
              <a:rPr lang="pt-BR" dirty="0"/>
              <a:t>, é aquele em que, </a:t>
            </a:r>
            <a:r>
              <a:rPr lang="pt-BR" b="1" dirty="0"/>
              <a:t>considerando todas as possibilidades de caminho existentes entre o vértice de origem e o de destino</a:t>
            </a:r>
            <a:r>
              <a:rPr lang="pt-BR" dirty="0"/>
              <a:t>, a </a:t>
            </a:r>
            <a:r>
              <a:rPr lang="pt-BR" b="1" dirty="0"/>
              <a:t>soma dos pesos</a:t>
            </a:r>
            <a:r>
              <a:rPr lang="pt-BR" dirty="0"/>
              <a:t> das arestas é o </a:t>
            </a:r>
            <a:r>
              <a:rPr lang="pt-BR" b="1" dirty="0"/>
              <a:t>menor possível</a:t>
            </a:r>
            <a:r>
              <a:rPr lang="pt-BR" dirty="0"/>
              <a:t>. </a:t>
            </a:r>
          </a:p>
          <a:p>
            <a:r>
              <a:rPr lang="pt-BR" dirty="0"/>
              <a:t>Caso o grafo </a:t>
            </a:r>
            <a:r>
              <a:rPr lang="pt-BR" b="1" dirty="0"/>
              <a:t>não possua peso definido para cada aresta</a:t>
            </a:r>
            <a:r>
              <a:rPr lang="pt-BR" dirty="0"/>
              <a:t>, então se considera que </a:t>
            </a:r>
            <a:r>
              <a:rPr lang="pt-BR" b="1" dirty="0"/>
              <a:t>cada aresta possui peso 1 (um)</a:t>
            </a:r>
            <a:r>
              <a:rPr lang="pt-BR" dirty="0"/>
              <a:t>, assim o caminho mínimo é o que percorre o menor número de arestas até chegar ao destino.</a:t>
            </a:r>
          </a:p>
          <a:p>
            <a:r>
              <a:rPr lang="pt-BR" dirty="0"/>
              <a:t>O caminho mínimo também pode ser denominado como distância, representando o menor comprimento entre dois vértices em um grafo.</a:t>
            </a:r>
          </a:p>
        </p:txBody>
      </p:sp>
    </p:spTree>
    <p:extLst>
      <p:ext uri="{BB962C8B-B14F-4D97-AF65-F5344CB8AC3E}">
        <p14:creationId xmlns:p14="http://schemas.microsoft.com/office/powerpoint/2010/main" val="3097913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6E0F0221-C562-B2C7-9161-7511CC310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aminho mínimo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D2F5BF4-C3AE-4613-B45A-72433CAA40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Queremos sair do vértice A e chegar ao vértice D. Para isso, temos as seguintes possibilidades de caminho:</a:t>
            </a:r>
          </a:p>
          <a:p>
            <a:pPr lvl="1"/>
            <a:r>
              <a:rPr lang="pt-BR" sz="2800" dirty="0"/>
              <a:t>Sequência 1 = A-D </a:t>
            </a:r>
          </a:p>
          <a:p>
            <a:pPr lvl="1"/>
            <a:r>
              <a:rPr lang="pt-BR" sz="2800" dirty="0"/>
              <a:t>Sequência 2 = A-B-D </a:t>
            </a:r>
          </a:p>
          <a:p>
            <a:pPr lvl="1"/>
            <a:r>
              <a:rPr lang="pt-BR" sz="2800" dirty="0"/>
              <a:t>Sequência 3 = A-C-B-D </a:t>
            </a:r>
          </a:p>
          <a:p>
            <a:pPr lvl="1"/>
            <a:r>
              <a:rPr lang="pt-BR" sz="2800" dirty="0"/>
              <a:t>Sequência 4 = A-C-E-D </a:t>
            </a:r>
          </a:p>
          <a:p>
            <a:pPr lvl="1"/>
            <a:r>
              <a:rPr lang="pt-BR" sz="2800" dirty="0"/>
              <a:t>Sequência 5 = A-E-D</a:t>
            </a:r>
          </a:p>
          <a:p>
            <a:r>
              <a:rPr lang="pt-BR" sz="3200" b="1" dirty="0"/>
              <a:t>Qual o caminho mínimo?</a:t>
            </a:r>
          </a:p>
        </p:txBody>
      </p:sp>
      <p:pic>
        <p:nvPicPr>
          <p:cNvPr id="5" name="Imagem 4" descr="Diagrama&#10;&#10;O conteúdo gerado por IA pode estar incorreto.">
            <a:extLst>
              <a:ext uri="{FF2B5EF4-FFF2-40B4-BE49-F238E27FC236}">
                <a16:creationId xmlns:a16="http://schemas.microsoft.com/office/drawing/2014/main" id="{355356A5-EAF7-3F91-33AB-97C714EDE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6900" y="2706624"/>
            <a:ext cx="4261419" cy="286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507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80E28742-D18E-18F0-1E92-D55B643CF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aminho mínimo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C6F7617-BCDF-35E6-5901-45BC6A8755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Em um </a:t>
            </a:r>
            <a:r>
              <a:rPr lang="pt-BR" b="1" dirty="0"/>
              <a:t>grafo não ponderado</a:t>
            </a:r>
            <a:r>
              <a:rPr lang="pt-BR" dirty="0"/>
              <a:t>, o caminho mínimo seria o da sequência 1: A-D, em que percorremos apenas uma aresta. </a:t>
            </a:r>
          </a:p>
          <a:p>
            <a:r>
              <a:rPr lang="pt-BR" dirty="0"/>
              <a:t>Porém, como tem peso, precisamos </a:t>
            </a:r>
            <a:r>
              <a:rPr lang="pt-BR" b="1" dirty="0"/>
              <a:t>calcular o de cada caminho</a:t>
            </a:r>
            <a:r>
              <a:rPr lang="pt-BR" dirty="0"/>
              <a:t>, assim substituímos cada par de aresta pelo seu peso: </a:t>
            </a:r>
          </a:p>
          <a:p>
            <a:pPr lvl="1"/>
            <a:r>
              <a:rPr lang="pt-BR" sz="2800" dirty="0"/>
              <a:t>Sequência A-D = 10 </a:t>
            </a:r>
          </a:p>
          <a:p>
            <a:pPr lvl="1"/>
            <a:r>
              <a:rPr lang="pt-BR" sz="2800" dirty="0"/>
              <a:t>Sequência A-B-D = 3 + 15 = 18 </a:t>
            </a:r>
          </a:p>
          <a:p>
            <a:pPr lvl="1"/>
            <a:r>
              <a:rPr lang="pt-BR" sz="2800" dirty="0"/>
              <a:t>Sequência A-C-B-D = 2 + 2 + 15 = 19 </a:t>
            </a:r>
          </a:p>
          <a:p>
            <a:pPr lvl="1"/>
            <a:r>
              <a:rPr lang="pt-BR" sz="2800" dirty="0"/>
              <a:t>Sequência A-C-E-D = 2 + 3 + 3 = 8 </a:t>
            </a:r>
          </a:p>
          <a:p>
            <a:pPr lvl="1"/>
            <a:r>
              <a:rPr lang="pt-BR" sz="2800" dirty="0"/>
              <a:t>Sequência A-E-D = 6 + 3 = 9</a:t>
            </a:r>
          </a:p>
        </p:txBody>
      </p:sp>
      <p:pic>
        <p:nvPicPr>
          <p:cNvPr id="2" name="Imagem 1" descr="Diagrama&#10;&#10;O conteúdo gerado por IA pode estar incorreto.">
            <a:extLst>
              <a:ext uri="{FF2B5EF4-FFF2-40B4-BE49-F238E27FC236}">
                <a16:creationId xmlns:a16="http://schemas.microsoft.com/office/drawing/2014/main" id="{B49DF33F-AC23-422D-0AEF-05D6D218D7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7124" y="3819431"/>
            <a:ext cx="4261419" cy="286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034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66CDC943-B9A7-2153-A25B-6B5CCB982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aminho mínimo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8C6259D-5AF6-2C01-3E2B-F3C95CE319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Dessa forma, encontramos </a:t>
            </a:r>
            <a:r>
              <a:rPr lang="pt-BR" b="1" dirty="0"/>
              <a:t>a sequência A-C-E-D como o caminho mínimo entre os vértices A e </a:t>
            </a:r>
            <a:r>
              <a:rPr lang="pt-BR" b="1" dirty="0" err="1"/>
              <a:t>D</a:t>
            </a:r>
            <a:r>
              <a:rPr lang="pt-BR" b="1" dirty="0"/>
              <a:t> nesse grafo</a:t>
            </a:r>
            <a:r>
              <a:rPr lang="pt-BR" dirty="0"/>
              <a:t>, custando 8 para ir da origem ao destino.</a:t>
            </a:r>
          </a:p>
          <a:p>
            <a:r>
              <a:rPr lang="pt-BR" sz="2800" dirty="0"/>
              <a:t>Sequência A-C-E-D = 2 + 3 + 3 = 8 </a:t>
            </a:r>
          </a:p>
          <a:p>
            <a:endParaRPr lang="pt-BR" dirty="0"/>
          </a:p>
        </p:txBody>
      </p:sp>
      <p:pic>
        <p:nvPicPr>
          <p:cNvPr id="2" name="Imagem 1" descr="Diagrama&#10;&#10;O conteúdo gerado por IA pode estar incorreto.">
            <a:extLst>
              <a:ext uri="{FF2B5EF4-FFF2-40B4-BE49-F238E27FC236}">
                <a16:creationId xmlns:a16="http://schemas.microsoft.com/office/drawing/2014/main" id="{6AABD744-3228-73B7-BC2D-5255FCEC8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8326" y="3181077"/>
            <a:ext cx="4261419" cy="286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251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D8C8D-E6C7-8109-4F76-FD27C1ACC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F472E29-1632-5A4F-EB0A-605511DBA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Atividade - Caminho mínimo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21AEAE0-C870-0CA0-CD57-8DA5E1A4A2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Utilizando o mesmo grafo ponderado, encontre o caminho mínimo entre os vértices </a:t>
            </a:r>
            <a:r>
              <a:rPr lang="pt-BR" b="1" dirty="0"/>
              <a:t>B</a:t>
            </a:r>
            <a:r>
              <a:rPr lang="pt-BR" dirty="0"/>
              <a:t> e </a:t>
            </a:r>
            <a:r>
              <a:rPr lang="pt-BR" b="1" dirty="0"/>
              <a:t>E</a:t>
            </a:r>
            <a:r>
              <a:rPr lang="pt-BR" dirty="0"/>
              <a:t>. </a:t>
            </a:r>
          </a:p>
          <a:p>
            <a:r>
              <a:rPr lang="pt-BR" dirty="0"/>
              <a:t>Liste todas as rotas possíveis e compare seus custos</a:t>
            </a:r>
          </a:p>
        </p:txBody>
      </p:sp>
      <p:pic>
        <p:nvPicPr>
          <p:cNvPr id="2" name="Imagem 1" descr="Diagrama&#10;&#10;O conteúdo gerado por IA pode estar incorreto.">
            <a:extLst>
              <a:ext uri="{FF2B5EF4-FFF2-40B4-BE49-F238E27FC236}">
                <a16:creationId xmlns:a16="http://schemas.microsoft.com/office/drawing/2014/main" id="{637A95CD-CE41-57B4-30D7-9D493B5106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7124" y="3551780"/>
            <a:ext cx="4261419" cy="286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815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1EC2E4-C1C5-8078-6D40-57E3DA479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77163AB8-8DB9-9AFD-DD7A-1B04AFF38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Atividade - Caminho mínimo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ACECA5F-9807-3926-C86A-519532E626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10515600" cy="443345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B – C – E = 2 + 3 = 5</a:t>
            </a:r>
          </a:p>
          <a:p>
            <a:r>
              <a:rPr lang="pt-BR" dirty="0"/>
              <a:t>B – A – C – E = 3 + 2 + 3 = 8</a:t>
            </a:r>
          </a:p>
          <a:p>
            <a:r>
              <a:rPr lang="pt-BR" dirty="0"/>
              <a:t>B – A – E = 3 + 6 = 9</a:t>
            </a:r>
          </a:p>
          <a:p>
            <a:r>
              <a:rPr lang="pt-BR" dirty="0"/>
              <a:t>B – C – A – E = 2 + 2 + 6 = 10</a:t>
            </a:r>
          </a:p>
          <a:p>
            <a:r>
              <a:rPr lang="pt-BR" dirty="0"/>
              <a:t>B – A – </a:t>
            </a:r>
            <a:r>
              <a:rPr lang="pt-BR" dirty="0" err="1"/>
              <a:t>D</a:t>
            </a:r>
            <a:r>
              <a:rPr lang="pt-BR" dirty="0"/>
              <a:t> – E = 3 + 10 + 3 = 16</a:t>
            </a:r>
          </a:p>
          <a:p>
            <a:r>
              <a:rPr lang="pt-BR" dirty="0"/>
              <a:t>B – C – A – </a:t>
            </a:r>
            <a:r>
              <a:rPr lang="pt-BR" dirty="0" err="1"/>
              <a:t>D</a:t>
            </a:r>
            <a:r>
              <a:rPr lang="pt-BR" dirty="0"/>
              <a:t> – E = 2 + 2 + 10 + 3 = 17</a:t>
            </a:r>
          </a:p>
          <a:p>
            <a:r>
              <a:rPr lang="pt-BR" dirty="0"/>
              <a:t>B – </a:t>
            </a:r>
            <a:r>
              <a:rPr lang="pt-BR" dirty="0" err="1"/>
              <a:t>D</a:t>
            </a:r>
            <a:r>
              <a:rPr lang="pt-BR" dirty="0"/>
              <a:t> – E = 15 + 3 = 18</a:t>
            </a:r>
          </a:p>
          <a:p>
            <a:r>
              <a:rPr lang="pt-BR" dirty="0"/>
              <a:t>B – </a:t>
            </a:r>
            <a:r>
              <a:rPr lang="pt-BR" dirty="0" err="1"/>
              <a:t>D</a:t>
            </a:r>
            <a:r>
              <a:rPr lang="pt-BR" dirty="0"/>
              <a:t> –A – C – E = 15 + 10 + 2 + 3 = 30</a:t>
            </a:r>
          </a:p>
          <a:p>
            <a:r>
              <a:rPr lang="pt-BR" dirty="0"/>
              <a:t>B – </a:t>
            </a:r>
            <a:r>
              <a:rPr lang="pt-BR" dirty="0" err="1"/>
              <a:t>D</a:t>
            </a:r>
            <a:r>
              <a:rPr lang="pt-BR" dirty="0"/>
              <a:t> – A – E = 15 + 10 + 6 = 31</a:t>
            </a:r>
          </a:p>
          <a:p>
            <a:endParaRPr lang="pt-BR" dirty="0"/>
          </a:p>
        </p:txBody>
      </p:sp>
      <p:pic>
        <p:nvPicPr>
          <p:cNvPr id="2" name="Imagem 1" descr="Diagrama&#10;&#10;O conteúdo gerado por IA pode estar incorreto.">
            <a:extLst>
              <a:ext uri="{FF2B5EF4-FFF2-40B4-BE49-F238E27FC236}">
                <a16:creationId xmlns:a16="http://schemas.microsoft.com/office/drawing/2014/main" id="{24F897D4-480F-E9F7-5626-C7A9CD2C8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7124" y="3551780"/>
            <a:ext cx="4261419" cy="286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726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48B7B6-50F0-1B6D-635B-433090618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iclo</a:t>
            </a:r>
            <a:r>
              <a:rPr lang="pt-BR" dirty="0"/>
              <a:t> (</a:t>
            </a:r>
            <a:r>
              <a:rPr lang="pt-BR" dirty="0" err="1"/>
              <a:t>cycle</a:t>
            </a:r>
            <a:r>
              <a:rPr lang="pt-BR" dirty="0"/>
              <a:t>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7756663-5C39-34E1-C169-E0BC71C126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Também chamado de circuito, é um caminho que tem como </a:t>
            </a:r>
            <a:r>
              <a:rPr lang="pt-BR" b="1" dirty="0"/>
              <a:t>origem e destino o mesmo vértice</a:t>
            </a:r>
            <a:r>
              <a:rPr lang="pt-BR" dirty="0"/>
              <a:t>.</a:t>
            </a:r>
          </a:p>
          <a:p>
            <a:r>
              <a:rPr lang="pt-BR" dirty="0"/>
              <a:t>Assim </a:t>
            </a:r>
            <a:r>
              <a:rPr lang="pt-BR" b="1" dirty="0"/>
              <a:t>partindo de um ponto</a:t>
            </a:r>
            <a:r>
              <a:rPr lang="pt-BR" dirty="0"/>
              <a:t>, </a:t>
            </a:r>
            <a:r>
              <a:rPr lang="pt-BR" b="1" dirty="0"/>
              <a:t>percorrendo o grafo </a:t>
            </a:r>
            <a:r>
              <a:rPr lang="pt-BR" dirty="0"/>
              <a:t>e </a:t>
            </a:r>
            <a:r>
              <a:rPr lang="pt-BR" b="1" dirty="0"/>
              <a:t>voltando para esse mesmo ponto. </a:t>
            </a:r>
          </a:p>
          <a:p>
            <a:r>
              <a:rPr lang="pt-BR" dirty="0"/>
              <a:t>Possui as mesmas características do caminho, de não repetir vértices ou arestas, exceto o vértice de origem e destino que devem ser os mesmos. </a:t>
            </a:r>
          </a:p>
        </p:txBody>
      </p:sp>
    </p:spTree>
    <p:extLst>
      <p:ext uri="{BB962C8B-B14F-4D97-AF65-F5344CB8AC3E}">
        <p14:creationId xmlns:p14="http://schemas.microsoft.com/office/powerpoint/2010/main" val="2188928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72690-31A7-FAA1-DA91-B2D16BEAC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62F71A-4009-8EE0-522D-6FB71BDB1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iclo</a:t>
            </a:r>
            <a:r>
              <a:rPr lang="pt-BR" dirty="0"/>
              <a:t> (</a:t>
            </a:r>
            <a:r>
              <a:rPr lang="pt-BR" dirty="0" err="1"/>
              <a:t>cycle</a:t>
            </a:r>
            <a:r>
              <a:rPr lang="pt-BR" dirty="0"/>
              <a:t>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7D85ED3-72A9-6E70-1785-B9C41E595E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6371867" cy="4190617"/>
          </a:xfrm>
        </p:spPr>
        <p:txBody>
          <a:bodyPr>
            <a:normAutofit/>
          </a:bodyPr>
          <a:lstStyle/>
          <a:p>
            <a:r>
              <a:rPr lang="pt-BR" dirty="0"/>
              <a:t>Na figura, vemos um exemplo de um ciclo partindo do vértice A e tendo como destino o mesmo vértice A, percorrendo A-B-E-D-A.</a:t>
            </a:r>
          </a:p>
        </p:txBody>
      </p:sp>
      <p:pic>
        <p:nvPicPr>
          <p:cNvPr id="5" name="Imagem 4" descr="Diagrama, Esquemático&#10;&#10;O conteúdo gerado por IA pode estar incorreto.">
            <a:extLst>
              <a:ext uri="{FF2B5EF4-FFF2-40B4-BE49-F238E27FC236}">
                <a16:creationId xmlns:a16="http://schemas.microsoft.com/office/drawing/2014/main" id="{8BBFACAE-AB37-B61D-269C-668580D7E6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6653" y="2055357"/>
            <a:ext cx="4043553" cy="3346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78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5912D2-B29A-EB34-3B3E-0AD58255AE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Passeio</a:t>
            </a:r>
            <a:r>
              <a:rPr lang="pt-BR" dirty="0"/>
              <a:t>, </a:t>
            </a:r>
            <a:r>
              <a:rPr lang="pt-BR" b="1" dirty="0"/>
              <a:t>trilha</a:t>
            </a:r>
            <a:r>
              <a:rPr lang="pt-BR" dirty="0"/>
              <a:t> e </a:t>
            </a:r>
            <a:r>
              <a:rPr lang="pt-BR" b="1" dirty="0"/>
              <a:t>caminho</a:t>
            </a:r>
            <a:r>
              <a:rPr lang="pt-BR" dirty="0"/>
              <a:t> em um Graf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6ACCED0-9418-2FBB-6F17-2CC6773918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Em um grafo podemos ter diversos vértices e arestas conectados entre si, tendo possibilidades de percorrê-lo de diversas formas. </a:t>
            </a:r>
          </a:p>
          <a:p>
            <a:r>
              <a:rPr lang="pt-BR" dirty="0"/>
              <a:t>O conceito de passeio, trilha e caminho se aplica tanto a grafos não direcionados quanto aos direcionados. </a:t>
            </a:r>
          </a:p>
          <a:p>
            <a:r>
              <a:rPr lang="pt-BR" dirty="0"/>
              <a:t>A diferença da aplicação dos conceitos é que em um dígrafo devemos seguir o sentido das arestas, de onde saem e para onde entram.</a:t>
            </a:r>
          </a:p>
        </p:txBody>
      </p:sp>
      <p:pic>
        <p:nvPicPr>
          <p:cNvPr id="5" name="Gráfico 4" descr="Estrada com preenchimento sólido">
            <a:extLst>
              <a:ext uri="{FF2B5EF4-FFF2-40B4-BE49-F238E27FC236}">
                <a16:creationId xmlns:a16="http://schemas.microsoft.com/office/drawing/2014/main" id="{D3FE4543-FC07-5172-D4CE-5E81273D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35761" y="4868562"/>
            <a:ext cx="2292178" cy="2292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041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4CC2C-DEEF-B63A-6ADC-46D4701E1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DDC28B-5F8E-359B-F0A2-D32C2092D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ividade 1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2DAACE9-A64D-94AE-1F5C-AFA2D20AD4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5957799" cy="4190617"/>
          </a:xfrm>
        </p:spPr>
        <p:txBody>
          <a:bodyPr>
            <a:normAutofit/>
          </a:bodyPr>
          <a:lstStyle/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Dado o grafo no quadro, a vossa tarefa é classificar cada uma das seguintes sequências de vértices. Atenção: uma mesma sequência pode ter mais do que uma classificação!</a:t>
            </a:r>
            <a:endParaRPr lang="pt-BR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8A5375-D1F2-104D-5CBB-234287337C77}"/>
              </a:ext>
            </a:extLst>
          </p:cNvPr>
          <p:cNvSpPr/>
          <p:nvPr/>
        </p:nvSpPr>
        <p:spPr>
          <a:xfrm>
            <a:off x="8829130" y="433803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A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95BDC6E-3BFD-3583-CFC9-F6805F4590A7}"/>
              </a:ext>
            </a:extLst>
          </p:cNvPr>
          <p:cNvSpPr/>
          <p:nvPr/>
        </p:nvSpPr>
        <p:spPr>
          <a:xfrm>
            <a:off x="10519200" y="2156647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B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590147-5EC4-7D5B-8E8B-77389FAF5FF9}"/>
              </a:ext>
            </a:extLst>
          </p:cNvPr>
          <p:cNvSpPr/>
          <p:nvPr/>
        </p:nvSpPr>
        <p:spPr>
          <a:xfrm>
            <a:off x="7690662" y="2650765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 err="1"/>
              <a:t>D</a:t>
            </a:r>
            <a:endParaRPr lang="pt-BR" sz="2400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2E6C71B-F2B8-AEEF-AEC1-F0F64D19B77A}"/>
              </a:ext>
            </a:extLst>
          </p:cNvPr>
          <p:cNvSpPr/>
          <p:nvPr/>
        </p:nvSpPr>
        <p:spPr>
          <a:xfrm>
            <a:off x="9115364" y="2484609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C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A67DC95-4F56-59DB-C153-42F9051469C8}"/>
              </a:ext>
            </a:extLst>
          </p:cNvPr>
          <p:cNvSpPr/>
          <p:nvPr/>
        </p:nvSpPr>
        <p:spPr>
          <a:xfrm>
            <a:off x="8790305" y="1506451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9502131-27B2-F912-E06B-DE907E5EDB50}"/>
              </a:ext>
            </a:extLst>
          </p:cNvPr>
          <p:cNvSpPr/>
          <p:nvPr/>
        </p:nvSpPr>
        <p:spPr>
          <a:xfrm>
            <a:off x="10033235" y="3451046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 err="1"/>
              <a:t>F</a:t>
            </a:r>
            <a:endParaRPr lang="pt-BR" sz="2400" b="1" dirty="0"/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5DCF58CE-0754-AE89-A1B8-95A9DBE2A3BE}"/>
              </a:ext>
            </a:extLst>
          </p:cNvPr>
          <p:cNvCxnSpPr>
            <a:stCxn id="6" idx="5"/>
            <a:endCxn id="7" idx="1"/>
          </p:cNvCxnSpPr>
          <p:nvPr/>
        </p:nvCxnSpPr>
        <p:spPr>
          <a:xfrm>
            <a:off x="9315095" y="960375"/>
            <a:ext cx="1287483" cy="128661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883B4619-432D-AD45-6D75-9586BFC4834C}"/>
              </a:ext>
            </a:extLst>
          </p:cNvPr>
          <p:cNvCxnSpPr>
            <a:cxnSpLocks/>
            <a:stCxn id="6" idx="4"/>
            <a:endCxn id="5" idx="0"/>
          </p:cNvCxnSpPr>
          <p:nvPr/>
        </p:nvCxnSpPr>
        <p:spPr>
          <a:xfrm flipH="1">
            <a:off x="9074977" y="1050720"/>
            <a:ext cx="38825" cy="45573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C5E7366E-85BB-6161-F438-BB232FD1718E}"/>
              </a:ext>
            </a:extLst>
          </p:cNvPr>
          <p:cNvCxnSpPr>
            <a:cxnSpLocks/>
            <a:stCxn id="6" idx="3"/>
            <a:endCxn id="8" idx="0"/>
          </p:cNvCxnSpPr>
          <p:nvPr/>
        </p:nvCxnSpPr>
        <p:spPr>
          <a:xfrm flipH="1">
            <a:off x="7975334" y="960375"/>
            <a:ext cx="937174" cy="169039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3115A6B6-4B8E-E4F2-63F4-A0E41DCC79EE}"/>
              </a:ext>
            </a:extLst>
          </p:cNvPr>
          <p:cNvCxnSpPr>
            <a:cxnSpLocks/>
            <a:stCxn id="7" idx="3"/>
            <a:endCxn id="9" idx="6"/>
          </p:cNvCxnSpPr>
          <p:nvPr/>
        </p:nvCxnSpPr>
        <p:spPr>
          <a:xfrm flipH="1">
            <a:off x="9684707" y="2683219"/>
            <a:ext cx="917871" cy="109849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A19F1613-8E1B-A142-CD3B-26EF5E3D7637}"/>
              </a:ext>
            </a:extLst>
          </p:cNvPr>
          <p:cNvCxnSpPr>
            <a:cxnSpLocks/>
            <a:stCxn id="7" idx="2"/>
            <a:endCxn id="5" idx="6"/>
          </p:cNvCxnSpPr>
          <p:nvPr/>
        </p:nvCxnSpPr>
        <p:spPr>
          <a:xfrm flipH="1" flipV="1">
            <a:off x="9359648" y="1814910"/>
            <a:ext cx="1159552" cy="650196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id="{EA4A0B05-FC59-30FC-B1B6-6B2F6BFDF9C4}"/>
              </a:ext>
            </a:extLst>
          </p:cNvPr>
          <p:cNvCxnSpPr>
            <a:cxnSpLocks/>
            <a:stCxn id="8" idx="6"/>
            <a:endCxn id="9" idx="3"/>
          </p:cNvCxnSpPr>
          <p:nvPr/>
        </p:nvCxnSpPr>
        <p:spPr>
          <a:xfrm>
            <a:off x="8260005" y="2959224"/>
            <a:ext cx="938737" cy="5195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64C74114-E5B8-615D-E12A-64CB3C916D0E}"/>
              </a:ext>
            </a:extLst>
          </p:cNvPr>
          <p:cNvCxnSpPr>
            <a:cxnSpLocks/>
            <a:stCxn id="10" idx="0"/>
            <a:endCxn id="9" idx="5"/>
          </p:cNvCxnSpPr>
          <p:nvPr/>
        </p:nvCxnSpPr>
        <p:spPr>
          <a:xfrm flipH="1" flipV="1">
            <a:off x="9601329" y="3011181"/>
            <a:ext cx="716578" cy="43986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to 50">
            <a:extLst>
              <a:ext uri="{FF2B5EF4-FFF2-40B4-BE49-F238E27FC236}">
                <a16:creationId xmlns:a16="http://schemas.microsoft.com/office/drawing/2014/main" id="{25C48528-1A30-A97D-43FE-35DC7BADDE65}"/>
              </a:ext>
            </a:extLst>
          </p:cNvPr>
          <p:cNvCxnSpPr>
            <a:cxnSpLocks/>
            <a:stCxn id="10" idx="2"/>
            <a:endCxn id="8" idx="5"/>
          </p:cNvCxnSpPr>
          <p:nvPr/>
        </p:nvCxnSpPr>
        <p:spPr>
          <a:xfrm flipH="1" flipV="1">
            <a:off x="8176627" y="3177337"/>
            <a:ext cx="1856608" cy="582168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Tabela 63">
            <a:extLst>
              <a:ext uri="{FF2B5EF4-FFF2-40B4-BE49-F238E27FC236}">
                <a16:creationId xmlns:a16="http://schemas.microsoft.com/office/drawing/2014/main" id="{D7E40F1C-6F23-C800-D4E1-F6BA70A953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7471686"/>
              </p:ext>
            </p:extLst>
          </p:nvPr>
        </p:nvGraphicFramePr>
        <p:xfrm>
          <a:off x="740883" y="4149542"/>
          <a:ext cx="10206040" cy="1874520"/>
        </p:xfrm>
        <a:graphic>
          <a:graphicData uri="http://schemas.openxmlformats.org/drawingml/2006/table">
            <a:tbl>
              <a:tblPr/>
              <a:tblGrid>
                <a:gridCol w="2041208">
                  <a:extLst>
                    <a:ext uri="{9D8B030D-6E8A-4147-A177-3AD203B41FA5}">
                      <a16:colId xmlns:a16="http://schemas.microsoft.com/office/drawing/2014/main" val="521239377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184399008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3871570812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3400881833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1144320194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equência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É um Passeio?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 dirty="0">
                          <a:effectLst/>
                        </a:rPr>
                        <a:t>É uma Trilha?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 dirty="0">
                          <a:effectLst/>
                        </a:rPr>
                        <a:t>É um Caminho?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pt-BR" dirty="0">
                          <a:effectLst/>
                        </a:rPr>
                        <a:t>É um Ciclo?</a:t>
                      </a:r>
                    </a:p>
                  </a:txBody>
                  <a:tcPr marL="0" marR="0" marT="19050" marB="19050" anchor="b">
                    <a:lnL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184903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1. A-B-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612717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2. A-D-F-C-B-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082351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3. C-F-D-A-E-B-C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181254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 dirty="0">
                          <a:effectLst/>
                        </a:rPr>
                        <a:t>4. A-D-C-F-D-C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37855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5. B-C-F-D-A-E-B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pt-BR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9103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20682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95C2F5-2351-A6CC-59ED-B545005FB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1B2805-2714-636D-02DD-04045A4AA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ividade 1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5C4E192-EB66-9656-ECC5-5002CDAEB9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5957799" cy="4190617"/>
          </a:xfrm>
        </p:spPr>
        <p:txBody>
          <a:bodyPr>
            <a:normAutofit/>
          </a:bodyPr>
          <a:lstStyle/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Dado o grafo no quadro, a vossa tarefa é classificar cada uma das seguintes sequências de vértices. Atenção: uma mesma sequência pode ter mais do que uma classificação!</a:t>
            </a:r>
            <a:endParaRPr lang="pt-BR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42EF856-B489-78AF-B9A0-BDC43585800F}"/>
              </a:ext>
            </a:extLst>
          </p:cNvPr>
          <p:cNvSpPr/>
          <p:nvPr/>
        </p:nvSpPr>
        <p:spPr>
          <a:xfrm>
            <a:off x="8829130" y="433803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A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EC8C1B6-73B3-9353-A490-EC9D52F69F12}"/>
              </a:ext>
            </a:extLst>
          </p:cNvPr>
          <p:cNvSpPr/>
          <p:nvPr/>
        </p:nvSpPr>
        <p:spPr>
          <a:xfrm>
            <a:off x="10519200" y="2156647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B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E78B62-ADCE-57DA-31C3-1C20555141D6}"/>
              </a:ext>
            </a:extLst>
          </p:cNvPr>
          <p:cNvSpPr/>
          <p:nvPr/>
        </p:nvSpPr>
        <p:spPr>
          <a:xfrm>
            <a:off x="7690662" y="2650765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 err="1"/>
              <a:t>D</a:t>
            </a:r>
            <a:endParaRPr lang="pt-BR" sz="2400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B30CF12-64F0-3FCE-A2CE-789BA8D7DF1D}"/>
              </a:ext>
            </a:extLst>
          </p:cNvPr>
          <p:cNvSpPr/>
          <p:nvPr/>
        </p:nvSpPr>
        <p:spPr>
          <a:xfrm>
            <a:off x="9115364" y="2484609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C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F109C4A-3C8A-4BD6-3543-F312F5B2A325}"/>
              </a:ext>
            </a:extLst>
          </p:cNvPr>
          <p:cNvSpPr/>
          <p:nvPr/>
        </p:nvSpPr>
        <p:spPr>
          <a:xfrm>
            <a:off x="8790305" y="1506451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B2D0165-3F3E-B7BC-8F21-845D3E10355B}"/>
              </a:ext>
            </a:extLst>
          </p:cNvPr>
          <p:cNvSpPr/>
          <p:nvPr/>
        </p:nvSpPr>
        <p:spPr>
          <a:xfrm>
            <a:off x="10033235" y="3451046"/>
            <a:ext cx="569343" cy="616917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 err="1"/>
              <a:t>F</a:t>
            </a:r>
            <a:endParaRPr lang="pt-BR" sz="2400" b="1" dirty="0"/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92477E16-EC99-8A63-CF77-F235F65A6F79}"/>
              </a:ext>
            </a:extLst>
          </p:cNvPr>
          <p:cNvCxnSpPr>
            <a:stCxn id="6" idx="5"/>
            <a:endCxn id="7" idx="1"/>
          </p:cNvCxnSpPr>
          <p:nvPr/>
        </p:nvCxnSpPr>
        <p:spPr>
          <a:xfrm>
            <a:off x="9315095" y="960375"/>
            <a:ext cx="1287483" cy="128661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B702B0F6-8CF4-7769-8AE8-6C19613722BE}"/>
              </a:ext>
            </a:extLst>
          </p:cNvPr>
          <p:cNvCxnSpPr>
            <a:cxnSpLocks/>
            <a:stCxn id="6" idx="4"/>
            <a:endCxn id="5" idx="0"/>
          </p:cNvCxnSpPr>
          <p:nvPr/>
        </p:nvCxnSpPr>
        <p:spPr>
          <a:xfrm flipH="1">
            <a:off x="9074977" y="1050720"/>
            <a:ext cx="38825" cy="45573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19A34278-54CE-E757-0A33-8D6A9680A810}"/>
              </a:ext>
            </a:extLst>
          </p:cNvPr>
          <p:cNvCxnSpPr>
            <a:cxnSpLocks/>
            <a:stCxn id="6" idx="3"/>
            <a:endCxn id="8" idx="0"/>
          </p:cNvCxnSpPr>
          <p:nvPr/>
        </p:nvCxnSpPr>
        <p:spPr>
          <a:xfrm flipH="1">
            <a:off x="7975334" y="960375"/>
            <a:ext cx="937174" cy="169039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83FCFB1A-8610-B220-9134-A7592215D4D1}"/>
              </a:ext>
            </a:extLst>
          </p:cNvPr>
          <p:cNvCxnSpPr>
            <a:cxnSpLocks/>
            <a:stCxn id="7" idx="3"/>
            <a:endCxn id="9" idx="6"/>
          </p:cNvCxnSpPr>
          <p:nvPr/>
        </p:nvCxnSpPr>
        <p:spPr>
          <a:xfrm flipH="1">
            <a:off x="9684707" y="2683219"/>
            <a:ext cx="917871" cy="109849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6AC0062A-1207-C9E5-287E-5CADB66C1847}"/>
              </a:ext>
            </a:extLst>
          </p:cNvPr>
          <p:cNvCxnSpPr>
            <a:cxnSpLocks/>
            <a:stCxn id="7" idx="2"/>
            <a:endCxn id="5" idx="6"/>
          </p:cNvCxnSpPr>
          <p:nvPr/>
        </p:nvCxnSpPr>
        <p:spPr>
          <a:xfrm flipH="1" flipV="1">
            <a:off x="9359648" y="1814910"/>
            <a:ext cx="1159552" cy="650196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id="{00C46831-B896-8717-10AF-7FD96CDF65FA}"/>
              </a:ext>
            </a:extLst>
          </p:cNvPr>
          <p:cNvCxnSpPr>
            <a:cxnSpLocks/>
            <a:stCxn id="8" idx="6"/>
            <a:endCxn id="9" idx="3"/>
          </p:cNvCxnSpPr>
          <p:nvPr/>
        </p:nvCxnSpPr>
        <p:spPr>
          <a:xfrm>
            <a:off x="8260005" y="2959224"/>
            <a:ext cx="938737" cy="5195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3F4801AC-3AB8-ADCC-02D9-9AD9FBF3406A}"/>
              </a:ext>
            </a:extLst>
          </p:cNvPr>
          <p:cNvCxnSpPr>
            <a:cxnSpLocks/>
            <a:stCxn id="10" idx="0"/>
            <a:endCxn id="9" idx="5"/>
          </p:cNvCxnSpPr>
          <p:nvPr/>
        </p:nvCxnSpPr>
        <p:spPr>
          <a:xfrm flipH="1" flipV="1">
            <a:off x="9601329" y="3011181"/>
            <a:ext cx="716578" cy="43986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to 50">
            <a:extLst>
              <a:ext uri="{FF2B5EF4-FFF2-40B4-BE49-F238E27FC236}">
                <a16:creationId xmlns:a16="http://schemas.microsoft.com/office/drawing/2014/main" id="{556C4585-0C86-0EAF-C6D5-F83818806A06}"/>
              </a:ext>
            </a:extLst>
          </p:cNvPr>
          <p:cNvCxnSpPr>
            <a:cxnSpLocks/>
            <a:stCxn id="10" idx="2"/>
            <a:endCxn id="8" idx="5"/>
          </p:cNvCxnSpPr>
          <p:nvPr/>
        </p:nvCxnSpPr>
        <p:spPr>
          <a:xfrm flipH="1" flipV="1">
            <a:off x="8176627" y="3177337"/>
            <a:ext cx="1856608" cy="582168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Tabela 63">
            <a:extLst>
              <a:ext uri="{FF2B5EF4-FFF2-40B4-BE49-F238E27FC236}">
                <a16:creationId xmlns:a16="http://schemas.microsoft.com/office/drawing/2014/main" id="{C185FBD0-B4CD-D9F0-1E3C-9A1A471B9447}"/>
              </a:ext>
            </a:extLst>
          </p:cNvPr>
          <p:cNvGraphicFramePr>
            <a:graphicFrameLocks noGrp="1"/>
          </p:cNvGraphicFramePr>
          <p:nvPr/>
        </p:nvGraphicFramePr>
        <p:xfrm>
          <a:off x="740883" y="4149542"/>
          <a:ext cx="10206040" cy="2423160"/>
        </p:xfrm>
        <a:graphic>
          <a:graphicData uri="http://schemas.openxmlformats.org/drawingml/2006/table">
            <a:tbl>
              <a:tblPr/>
              <a:tblGrid>
                <a:gridCol w="2041208">
                  <a:extLst>
                    <a:ext uri="{9D8B030D-6E8A-4147-A177-3AD203B41FA5}">
                      <a16:colId xmlns:a16="http://schemas.microsoft.com/office/drawing/2014/main" val="521239377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184399008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3871570812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3400881833"/>
                    </a:ext>
                  </a:extLst>
                </a:gridCol>
                <a:gridCol w="2041208">
                  <a:extLst>
                    <a:ext uri="{9D8B030D-6E8A-4147-A177-3AD203B41FA5}">
                      <a16:colId xmlns:a16="http://schemas.microsoft.com/office/drawing/2014/main" val="1144320194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equência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É um Passeio?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É uma Trilha? (Arestas não se repetem)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 dirty="0">
                          <a:effectLst/>
                        </a:rPr>
                        <a:t>É um Caminho? (Vértices e arestas não se repetem)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r>
                        <a:rPr lang="pt-BR" dirty="0">
                          <a:effectLst/>
                        </a:rPr>
                        <a:t>É um Ciclo? (Caminho fechado)</a:t>
                      </a:r>
                    </a:p>
                  </a:txBody>
                  <a:tcPr marL="0" marR="0" marT="19050" marB="19050" anchor="b">
                    <a:lnL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010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184903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1. A-B-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Não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612717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2. A-D-F-C-B-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Não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082351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3. C-F-D-A-E-B-C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181254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 dirty="0">
                          <a:effectLst/>
                        </a:rPr>
                        <a:t>4. A-D-C-F-D-C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 dirty="0">
                          <a:effectLst/>
                        </a:rPr>
                        <a:t>Não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Não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Não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37855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5. B-C-F-D-A-E-B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pt-BR" dirty="0">
                          <a:effectLst/>
                        </a:rPr>
                        <a:t>Sim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9103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82767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43476-FEAB-2910-2A4F-2FEBAF8938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D448DE-047E-7FE8-ED36-9F04217758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sseios de Euler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1688FBA-A83D-056A-F114-08FA1B112A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Vocês lembram do problema de </a:t>
            </a:r>
            <a:r>
              <a:rPr lang="pt-BR" dirty="0" err="1"/>
              <a:t>Königsberg</a:t>
            </a:r>
            <a:r>
              <a:rPr lang="pt-BR" dirty="0"/>
              <a:t>? É possível percorrer um grafo de forma que todas as arestas sejam cruzadas exatamente uma vez? </a:t>
            </a:r>
          </a:p>
        </p:txBody>
      </p:sp>
      <p:pic>
        <p:nvPicPr>
          <p:cNvPr id="5" name="Imagem 4" descr="Diagrama&#10;&#10;O conteúdo gerado por IA pode estar incorreto.">
            <a:extLst>
              <a:ext uri="{FF2B5EF4-FFF2-40B4-BE49-F238E27FC236}">
                <a16:creationId xmlns:a16="http://schemas.microsoft.com/office/drawing/2014/main" id="{AF173A50-478A-6106-9F28-D3B9836A9E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746" y="3383770"/>
            <a:ext cx="7019324" cy="2793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5692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0C2A2-1E95-3574-0D40-BFF99AF9B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A6B9FB-75E8-8FDF-0EB8-879D7AB2F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sseios de Euler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6AF00F7-606E-3429-2004-2B53B7291D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O passeio de Euler é um </a:t>
            </a:r>
            <a:r>
              <a:rPr lang="pt-BR" b="1" dirty="0"/>
              <a:t>passeio em que cada aresta é visitada apenas uma vez</a:t>
            </a:r>
            <a:r>
              <a:rPr lang="pt-BR" dirty="0"/>
              <a:t>.</a:t>
            </a:r>
          </a:p>
          <a:p>
            <a:r>
              <a:rPr lang="pt-BR" b="1" dirty="0"/>
              <a:t>Todas as arestas </a:t>
            </a:r>
            <a:r>
              <a:rPr lang="pt-BR" dirty="0"/>
              <a:t>devem ser visitadas.</a:t>
            </a: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O motivo pelo qual não o chamamos de "Trilha de Euler" é, fundamentalmente, uma mistura de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história, convenção e tradução,</a:t>
            </a:r>
            <a:r>
              <a:rPr lang="pt-BR" dirty="0">
                <a:solidFill>
                  <a:srgbClr val="000000"/>
                </a:solidFill>
                <a:latin typeface="-webkit-standard"/>
              </a:rPr>
              <a:t> pois </a:t>
            </a:r>
            <a:r>
              <a:rPr lang="pt-BR" dirty="0"/>
              <a:t>o nome foi cunhado antes da formalização da terminologia que usamos hoje e se manteve por convenção.</a:t>
            </a:r>
            <a:endParaRPr lang="pt-BR" dirty="0">
              <a:solidFill>
                <a:srgbClr val="000000"/>
              </a:solidFill>
              <a:latin typeface="-webkit-standard"/>
            </a:endParaRPr>
          </a:p>
          <a:p>
            <a:r>
              <a:rPr lang="pt-BR" dirty="0"/>
              <a:t>Um grafo conectado </a:t>
            </a:r>
            <a:r>
              <a:rPr lang="pt-BR" dirty="0" err="1"/>
              <a:t>G</a:t>
            </a:r>
            <a:r>
              <a:rPr lang="pt-BR" dirty="0"/>
              <a:t> é um </a:t>
            </a:r>
            <a:r>
              <a:rPr lang="pt-BR" b="1" dirty="0"/>
              <a:t>passeio de Euler</a:t>
            </a:r>
            <a:r>
              <a:rPr lang="pt-BR" dirty="0"/>
              <a:t> se e somente se ele tem </a:t>
            </a:r>
            <a:r>
              <a:rPr lang="pt-BR" b="1" dirty="0"/>
              <a:t>exatamente zero OU exatamente dois</a:t>
            </a:r>
            <a:r>
              <a:rPr lang="pt-BR" dirty="0"/>
              <a:t> vértices de grau ímpar.</a:t>
            </a:r>
          </a:p>
        </p:txBody>
      </p:sp>
    </p:spTree>
    <p:extLst>
      <p:ext uri="{BB962C8B-B14F-4D97-AF65-F5344CB8AC3E}">
        <p14:creationId xmlns:p14="http://schemas.microsoft.com/office/powerpoint/2010/main" val="2267661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12EFEFA-E7B3-959A-5E8E-A769AC315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iclo de Euler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AFAB4EC-EBD0-7085-CEE0-BCA697A3A8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O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Ciclo de Euler (ou Circuito </a:t>
            </a:r>
            <a:r>
              <a:rPr lang="pt-BR" b="1" i="0" u="none" strike="noStrike" dirty="0" err="1">
                <a:solidFill>
                  <a:srgbClr val="000000"/>
                </a:solidFill>
                <a:effectLst/>
              </a:rPr>
              <a:t>Euleriano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) é 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um transcurso do grafo que visita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cada aresta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do grafo exatamente uma vez e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termina no mesmo vértice em que começou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. É um "circuito fechado".</a:t>
            </a: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Todo Ciclo de Euler é também um Passeio de Euler, mas nem todo Passeio de Euler é um Ciclo de Euler.</a:t>
            </a:r>
            <a:endParaRPr lang="pt-BR" dirty="0">
              <a:solidFill>
                <a:srgbClr val="000000"/>
              </a:solidFill>
              <a:latin typeface="-webkit-standard"/>
            </a:endParaRP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Um grafo possui um ciclo de Euler se, e somente se: ele for conectado e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todos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os seus vértices tiverem grau par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54021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17DAD3B-8A71-0604-9054-4DB3BA605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ividade Passeio e Ciclo de Euler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AC546A4-C1AA-3CB8-4736-483FA574F3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4497603" cy="4190617"/>
          </a:xfrm>
        </p:spPr>
        <p:txBody>
          <a:bodyPr>
            <a:normAutofit lnSpcReduction="10000"/>
          </a:bodyPr>
          <a:lstStyle/>
          <a:p>
            <a:pPr algn="l">
              <a:buFont typeface="+mj-lt"/>
              <a:buAutoNum type="arabicPeriod"/>
            </a:pP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Observe os dois grafos ao lado e, para cada um, determine </a:t>
            </a:r>
            <a:r>
              <a:rPr lang="pt-BR" dirty="0">
                <a:solidFill>
                  <a:srgbClr val="000000"/>
                </a:solidFill>
                <a:latin typeface="-webkit-standard"/>
              </a:rPr>
              <a:t>o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 grau de cada vértice.</a:t>
            </a:r>
          </a:p>
          <a:p>
            <a:pPr algn="l">
              <a:buFont typeface="+mj-lt"/>
              <a:buAutoNum type="arabicPeriod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Com base nos graus, indique se o grafo possui um passeio de Euler, um ciclo de Euler, ou nenhum dos dois.</a:t>
            </a:r>
          </a:p>
          <a:p>
            <a:pPr>
              <a:buNone/>
            </a:pPr>
            <a:br>
              <a:rPr lang="pt-BR" dirty="0"/>
            </a:br>
            <a:endParaRPr lang="pt-BR" dirty="0"/>
          </a:p>
        </p:txBody>
      </p:sp>
      <p:pic>
        <p:nvPicPr>
          <p:cNvPr id="1026" name="Picture 2" descr="undefined">
            <a:extLst>
              <a:ext uri="{FF2B5EF4-FFF2-40B4-BE49-F238E27FC236}">
                <a16:creationId xmlns:a16="http://schemas.microsoft.com/office/drawing/2014/main" id="{93605E25-70B8-19D1-C196-977066FBA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513" y="2300066"/>
            <a:ext cx="2987373" cy="2430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undefined">
            <a:extLst>
              <a:ext uri="{FF2B5EF4-FFF2-40B4-BE49-F238E27FC236}">
                <a16:creationId xmlns:a16="http://schemas.microsoft.com/office/drawing/2014/main" id="{E57A76FE-26EB-20E2-DC71-6BA20179F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3603" y="1986345"/>
            <a:ext cx="3143636" cy="3357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50582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86E0FA-7960-D435-986E-3183199B0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2283E89-C943-1073-78A9-A7D60D2828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É a generalização prática do problema do Ciclo de Euler. </a:t>
            </a:r>
          </a:p>
          <a:p>
            <a:r>
              <a:rPr lang="pt-BR" dirty="0"/>
              <a:t>Ele se encaixa perfeitamente no nosso contexto, respondendo à seguinte questão: </a:t>
            </a:r>
          </a:p>
          <a:p>
            <a:pPr lvl="1"/>
            <a:r>
              <a:rPr lang="pt-BR" sz="2800" dirty="0"/>
              <a:t>"E se um </a:t>
            </a:r>
            <a:r>
              <a:rPr lang="pt-BR" sz="2800" b="1" dirty="0"/>
              <a:t>grafo não tiver um Ciclo de Euler</a:t>
            </a:r>
            <a:r>
              <a:rPr lang="pt-BR" sz="2800" dirty="0"/>
              <a:t>, mas eu ainda assim </a:t>
            </a:r>
            <a:r>
              <a:rPr lang="pt-BR" sz="2800" b="1" dirty="0"/>
              <a:t>for obrigado a passar por todas as arestas e voltar ao início</a:t>
            </a:r>
            <a:r>
              <a:rPr lang="pt-BR" sz="2800" dirty="0"/>
              <a:t>? Qual é o </a:t>
            </a:r>
            <a:r>
              <a:rPr lang="pt-BR" sz="2800" b="1" dirty="0"/>
              <a:t>menor caminho possível </a:t>
            </a:r>
            <a:r>
              <a:rPr lang="pt-BR" sz="2800" dirty="0"/>
              <a:t>para fazer isso?"</a:t>
            </a:r>
          </a:p>
        </p:txBody>
      </p:sp>
    </p:spTree>
    <p:extLst>
      <p:ext uri="{BB962C8B-B14F-4D97-AF65-F5344CB8AC3E}">
        <p14:creationId xmlns:p14="http://schemas.microsoft.com/office/powerpoint/2010/main" val="2125679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109CFC-D408-B1CA-55B5-79F8CC403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ADB282-FD82-0980-E6F3-BC221C695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8A57BE1-C3AC-01C4-1C0C-9F6D8AB405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Pense em um carteiro de verdade: ele não pode simplesmente dizer "esta cidade não tem um ciclo de Euler, então não vou entregar o correio". </a:t>
            </a:r>
          </a:p>
          <a:p>
            <a:r>
              <a:rPr lang="pt-BR" dirty="0"/>
              <a:t>Ele precisa percorrer todas as ruas. </a:t>
            </a:r>
          </a:p>
          <a:p>
            <a:r>
              <a:rPr lang="pt-BR" dirty="0"/>
              <a:t>Se a cidade não for "perfeita" (</a:t>
            </a:r>
            <a:r>
              <a:rPr lang="pt-BR" dirty="0" err="1"/>
              <a:t>euleriana</a:t>
            </a:r>
            <a:r>
              <a:rPr lang="pt-BR" dirty="0"/>
              <a:t>), ele inevitavelmente terá que passar por algumas ruas mais de uma vez. </a:t>
            </a:r>
          </a:p>
          <a:p>
            <a:r>
              <a:rPr lang="pt-BR" dirty="0"/>
              <a:t>O objetivo do PCC é minimizar essas repetições.</a:t>
            </a:r>
          </a:p>
        </p:txBody>
      </p:sp>
      <p:pic>
        <p:nvPicPr>
          <p:cNvPr id="6" name="Gráfico 5" descr="Envelope com preenchimento sólido">
            <a:extLst>
              <a:ext uri="{FF2B5EF4-FFF2-40B4-BE49-F238E27FC236}">
                <a16:creationId xmlns:a16="http://schemas.microsoft.com/office/drawing/2014/main" id="{29B01AAA-0C12-F12F-5261-4D723D0E9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92064" y="4664419"/>
            <a:ext cx="2504560" cy="250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284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5F790-CA4C-8F41-89BC-EF91F0674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F5497E-2226-9B7E-2BEC-64F0BA7CF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E55B635-A1A1-744F-7139-509635C9C591}"/>
              </a:ext>
            </a:extLst>
          </p:cNvPr>
          <p:cNvSpPr/>
          <p:nvPr/>
        </p:nvSpPr>
        <p:spPr>
          <a:xfrm>
            <a:off x="1482808" y="291053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6ED1FFEF-3A97-0433-CC73-BDE16A2AD81B}"/>
              </a:ext>
            </a:extLst>
          </p:cNvPr>
          <p:cNvSpPr/>
          <p:nvPr/>
        </p:nvSpPr>
        <p:spPr>
          <a:xfrm>
            <a:off x="3538149" y="2088805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E0160AE-1F9B-D23A-78CB-D14345EA52A3}"/>
              </a:ext>
            </a:extLst>
          </p:cNvPr>
          <p:cNvSpPr/>
          <p:nvPr/>
        </p:nvSpPr>
        <p:spPr>
          <a:xfrm>
            <a:off x="6169569" y="2037147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C</a:t>
            </a:r>
            <a:endParaRPr lang="pt-BR" b="1" dirty="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765A9C1-BE55-BD28-6F4A-F6785BBB7A6E}"/>
              </a:ext>
            </a:extLst>
          </p:cNvPr>
          <p:cNvSpPr/>
          <p:nvPr/>
        </p:nvSpPr>
        <p:spPr>
          <a:xfrm>
            <a:off x="2393092" y="558114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</a:t>
            </a:r>
            <a:endParaRPr lang="pt-BR" b="1" dirty="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5E35AC72-123C-8D44-835B-82C94C59F810}"/>
              </a:ext>
            </a:extLst>
          </p:cNvPr>
          <p:cNvSpPr/>
          <p:nvPr/>
        </p:nvSpPr>
        <p:spPr>
          <a:xfrm>
            <a:off x="6169569" y="4537764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7809F2D4-165E-ECF1-2B13-50753D3F3457}"/>
              </a:ext>
            </a:extLst>
          </p:cNvPr>
          <p:cNvCxnSpPr>
            <a:stCxn id="50" idx="7"/>
            <a:endCxn id="51" idx="2"/>
          </p:cNvCxnSpPr>
          <p:nvPr/>
        </p:nvCxnSpPr>
        <p:spPr>
          <a:xfrm flipV="1">
            <a:off x="2200015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to 55">
            <a:extLst>
              <a:ext uri="{FF2B5EF4-FFF2-40B4-BE49-F238E27FC236}">
                <a16:creationId xmlns:a16="http://schemas.microsoft.com/office/drawing/2014/main" id="{5BFA2B0F-010F-CF2A-4EA8-443FBC7477FD}"/>
              </a:ext>
            </a:extLst>
          </p:cNvPr>
          <p:cNvCxnSpPr>
            <a:cxnSpLocks/>
            <a:stCxn id="52" idx="2"/>
            <a:endCxn id="51" idx="6"/>
          </p:cNvCxnSpPr>
          <p:nvPr/>
        </p:nvCxnSpPr>
        <p:spPr>
          <a:xfrm flipH="1">
            <a:off x="4378409" y="2457277"/>
            <a:ext cx="1791160" cy="51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to 56">
            <a:extLst>
              <a:ext uri="{FF2B5EF4-FFF2-40B4-BE49-F238E27FC236}">
                <a16:creationId xmlns:a16="http://schemas.microsoft.com/office/drawing/2014/main" id="{5912DBE4-6AEE-4F6A-3350-7DB26FDF01B3}"/>
              </a:ext>
            </a:extLst>
          </p:cNvPr>
          <p:cNvCxnSpPr>
            <a:cxnSpLocks/>
            <a:stCxn id="53" idx="0"/>
            <a:endCxn id="51" idx="4"/>
          </p:cNvCxnSpPr>
          <p:nvPr/>
        </p:nvCxnSpPr>
        <p:spPr>
          <a:xfrm flipV="1">
            <a:off x="2813222" y="2929065"/>
            <a:ext cx="1145057" cy="2652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5FF47567-5BFC-B00B-DF78-0884CE5F8BBC}"/>
              </a:ext>
            </a:extLst>
          </p:cNvPr>
          <p:cNvCxnSpPr>
            <a:cxnSpLocks/>
            <a:stCxn id="54" idx="0"/>
            <a:endCxn id="52" idx="4"/>
          </p:cNvCxnSpPr>
          <p:nvPr/>
        </p:nvCxnSpPr>
        <p:spPr>
          <a:xfrm flipV="1">
            <a:off x="6589699" y="2877407"/>
            <a:ext cx="0" cy="166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C8252CEF-DB24-33D3-5A59-922348D77AA1}"/>
              </a:ext>
            </a:extLst>
          </p:cNvPr>
          <p:cNvCxnSpPr>
            <a:cxnSpLocks/>
            <a:stCxn id="53" idx="6"/>
            <a:endCxn id="54" idx="2"/>
          </p:cNvCxnSpPr>
          <p:nvPr/>
        </p:nvCxnSpPr>
        <p:spPr>
          <a:xfrm flipV="1">
            <a:off x="3233352" y="4957894"/>
            <a:ext cx="2936217" cy="10433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8BEB446A-920E-5C90-B4A5-31F2B3393F99}"/>
              </a:ext>
            </a:extLst>
          </p:cNvPr>
          <p:cNvSpPr/>
          <p:nvPr/>
        </p:nvSpPr>
        <p:spPr>
          <a:xfrm>
            <a:off x="8279645" y="3396303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61" name="Conector Reto 60">
            <a:extLst>
              <a:ext uri="{FF2B5EF4-FFF2-40B4-BE49-F238E27FC236}">
                <a16:creationId xmlns:a16="http://schemas.microsoft.com/office/drawing/2014/main" id="{9FEB6AA4-A699-1653-42EF-D1FD2A7B7D8B}"/>
              </a:ext>
            </a:extLst>
          </p:cNvPr>
          <p:cNvCxnSpPr>
            <a:cxnSpLocks/>
            <a:stCxn id="54" idx="7"/>
            <a:endCxn id="60" idx="3"/>
          </p:cNvCxnSpPr>
          <p:nvPr/>
        </p:nvCxnSpPr>
        <p:spPr>
          <a:xfrm flipV="1">
            <a:off x="6886776" y="4113510"/>
            <a:ext cx="1515922" cy="547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B4CC13E3-8179-7467-FDE0-C9679BA084E9}"/>
              </a:ext>
            </a:extLst>
          </p:cNvPr>
          <p:cNvSpPr txBox="1"/>
          <p:nvPr/>
        </p:nvSpPr>
        <p:spPr>
          <a:xfrm>
            <a:off x="2323068" y="2253990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07567D94-F049-C1A0-B407-307FCBDCE357}"/>
              </a:ext>
            </a:extLst>
          </p:cNvPr>
          <p:cNvSpPr txBox="1"/>
          <p:nvPr/>
        </p:nvSpPr>
        <p:spPr>
          <a:xfrm>
            <a:off x="5331680" y="2415742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25D8574C-A3B2-50DA-A403-E309A97AA55F}"/>
              </a:ext>
            </a:extLst>
          </p:cNvPr>
          <p:cNvSpPr txBox="1"/>
          <p:nvPr/>
        </p:nvSpPr>
        <p:spPr>
          <a:xfrm>
            <a:off x="3538149" y="395973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6km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1AB99499-15F6-7ECF-ABAB-97E86D9454EE}"/>
              </a:ext>
            </a:extLst>
          </p:cNvPr>
          <p:cNvSpPr txBox="1"/>
          <p:nvPr/>
        </p:nvSpPr>
        <p:spPr>
          <a:xfrm>
            <a:off x="6760402" y="3476753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4km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35EE5D5B-E6E3-0D8D-3709-E640B67D20E5}"/>
              </a:ext>
            </a:extLst>
          </p:cNvPr>
          <p:cNvSpPr txBox="1"/>
          <p:nvPr/>
        </p:nvSpPr>
        <p:spPr>
          <a:xfrm>
            <a:off x="4704424" y="5480658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5km</a:t>
            </a: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832A1D5A-5B32-1A1F-2B60-AC0219517B64}"/>
              </a:ext>
            </a:extLst>
          </p:cNvPr>
          <p:cNvSpPr txBox="1"/>
          <p:nvPr/>
        </p:nvSpPr>
        <p:spPr>
          <a:xfrm>
            <a:off x="7492362" y="449622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</p:spTree>
    <p:extLst>
      <p:ext uri="{BB962C8B-B14F-4D97-AF65-F5344CB8AC3E}">
        <p14:creationId xmlns:p14="http://schemas.microsoft.com/office/powerpoint/2010/main" val="10673052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BC2F5-FED2-811C-604B-3625A79409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D985BC-9417-7751-1CBC-BF3E9576D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793323F-48C2-43EA-7418-75FCC02300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l">
              <a:buNone/>
            </a:pP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asso 1: "Verifica se o grafo é conectado."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Primeiro, Verificamos se existe um caminho entre quaisquer dois pontos do mapa. O mapa não pode ter bairros isolados (ilhas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Se o mapa tiver áreas desconectadas, é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fisicamente impossível para um único carteiro completar a rota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.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</a:rPr>
              <a:t>Podemos usar 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um algoritmo de busca, como a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Busca em Largura (BFS) 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ou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em Profundidade (DFS) 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para verificar se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o grafo é conectado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.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Começamos em um ponto qualquer, visitamos todos os vizinhos alcançáveis e, ao final,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comparamos se o número de pontos visitados é igual ao total de pontos no mapa.</a:t>
            </a:r>
          </a:p>
        </p:txBody>
      </p:sp>
    </p:spTree>
    <p:extLst>
      <p:ext uri="{BB962C8B-B14F-4D97-AF65-F5344CB8AC3E}">
        <p14:creationId xmlns:p14="http://schemas.microsoft.com/office/powerpoint/2010/main" val="3409567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84C318F-2504-2627-8A44-826F292F6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Passeio</a:t>
            </a:r>
            <a:r>
              <a:rPr lang="pt-BR" dirty="0"/>
              <a:t> (</a:t>
            </a:r>
            <a:r>
              <a:rPr lang="pt-BR" dirty="0" err="1"/>
              <a:t>walk</a:t>
            </a:r>
            <a:r>
              <a:rPr lang="pt-BR" dirty="0"/>
              <a:t>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70A77B9-A75C-7DA9-0170-A1AD4E7293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b="1" dirty="0"/>
              <a:t>Sequência finita de vértices e em qual ordem </a:t>
            </a:r>
            <a:r>
              <a:rPr lang="pt-BR" dirty="0"/>
              <a:t>percorrer saindo de um vértice origem e alcançando um de destino. </a:t>
            </a:r>
          </a:p>
          <a:p>
            <a:r>
              <a:rPr lang="pt-BR" dirty="0"/>
              <a:t>Podemos representar uma aresta em um passeio da seguinte forma: sendo O o vértice de origem e </a:t>
            </a:r>
            <a:r>
              <a:rPr lang="pt-BR" dirty="0" err="1"/>
              <a:t>D</a:t>
            </a:r>
            <a:r>
              <a:rPr lang="pt-BR" dirty="0"/>
              <a:t> o de destino, então essa aresta é representada como O-D. </a:t>
            </a:r>
          </a:p>
          <a:p>
            <a:r>
              <a:rPr lang="pt-BR" dirty="0"/>
              <a:t>Sempre à esquerda a origem da aresta e à direita o vértice de destino e então seguir a sequência de vértices.</a:t>
            </a:r>
          </a:p>
          <a:p>
            <a:r>
              <a:rPr lang="pt-BR" dirty="0"/>
              <a:t>Em um passeio, você </a:t>
            </a:r>
            <a:r>
              <a:rPr lang="pt-BR" b="1" dirty="0"/>
              <a:t>pode</a:t>
            </a:r>
            <a:r>
              <a:rPr lang="pt-BR" dirty="0"/>
              <a:t> </a:t>
            </a:r>
            <a:r>
              <a:rPr lang="pt-BR" b="1" dirty="0"/>
              <a:t>repetir vértices e arestas</a:t>
            </a:r>
            <a:r>
              <a:rPr lang="pt-B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52347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71C2-49B8-A665-4E3D-DC94359ED1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F0C83D-F564-EA11-D8DE-14D11EDBE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59A0A23-A93E-5A3E-D891-02E11C872784}"/>
              </a:ext>
            </a:extLst>
          </p:cNvPr>
          <p:cNvSpPr txBox="1"/>
          <p:nvPr/>
        </p:nvSpPr>
        <p:spPr>
          <a:xfrm>
            <a:off x="8526162" y="4957893"/>
            <a:ext cx="2458995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Como ainda não discutimos BFS e DFS,  percebemos que é conectado visualmente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66170F5-0C4D-A63C-76BA-BAE2E6DB6194}"/>
              </a:ext>
            </a:extLst>
          </p:cNvPr>
          <p:cNvSpPr/>
          <p:nvPr/>
        </p:nvSpPr>
        <p:spPr>
          <a:xfrm>
            <a:off x="1482808" y="291053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F8D599B-EB82-4A3B-00C9-174D1E295187}"/>
              </a:ext>
            </a:extLst>
          </p:cNvPr>
          <p:cNvSpPr/>
          <p:nvPr/>
        </p:nvSpPr>
        <p:spPr>
          <a:xfrm>
            <a:off x="3538149" y="2088805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E44B0FD-613E-CF69-C270-D05E187D18FA}"/>
              </a:ext>
            </a:extLst>
          </p:cNvPr>
          <p:cNvSpPr/>
          <p:nvPr/>
        </p:nvSpPr>
        <p:spPr>
          <a:xfrm>
            <a:off x="6169569" y="2037147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C</a:t>
            </a:r>
            <a:endParaRPr lang="pt-BR" b="1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29100A7-EC5C-D6CE-CCEF-BFC0D3371FDB}"/>
              </a:ext>
            </a:extLst>
          </p:cNvPr>
          <p:cNvSpPr/>
          <p:nvPr/>
        </p:nvSpPr>
        <p:spPr>
          <a:xfrm>
            <a:off x="2393092" y="558114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</a:t>
            </a:r>
            <a:endParaRPr lang="pt-BR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7E48CEE-5072-6E50-D078-8F4D9D52729B}"/>
              </a:ext>
            </a:extLst>
          </p:cNvPr>
          <p:cNvSpPr/>
          <p:nvPr/>
        </p:nvSpPr>
        <p:spPr>
          <a:xfrm>
            <a:off x="6169569" y="4537764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4C271BE2-6914-D280-62D3-4DF05FA66808}"/>
              </a:ext>
            </a:extLst>
          </p:cNvPr>
          <p:cNvCxnSpPr>
            <a:stCxn id="5" idx="7"/>
            <a:endCxn id="11" idx="2"/>
          </p:cNvCxnSpPr>
          <p:nvPr/>
        </p:nvCxnSpPr>
        <p:spPr>
          <a:xfrm flipV="1">
            <a:off x="2200015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FC0FDDDC-11A9-A267-A526-716B1500C75E}"/>
              </a:ext>
            </a:extLst>
          </p:cNvPr>
          <p:cNvCxnSpPr>
            <a:cxnSpLocks/>
            <a:stCxn id="14" idx="2"/>
            <a:endCxn id="11" idx="6"/>
          </p:cNvCxnSpPr>
          <p:nvPr/>
        </p:nvCxnSpPr>
        <p:spPr>
          <a:xfrm flipH="1">
            <a:off x="4378409" y="2457277"/>
            <a:ext cx="1791160" cy="51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1E74AF71-45E3-425F-E265-44533DB1D889}"/>
              </a:ext>
            </a:extLst>
          </p:cNvPr>
          <p:cNvCxnSpPr>
            <a:cxnSpLocks/>
            <a:stCxn id="15" idx="0"/>
            <a:endCxn id="11" idx="4"/>
          </p:cNvCxnSpPr>
          <p:nvPr/>
        </p:nvCxnSpPr>
        <p:spPr>
          <a:xfrm flipV="1">
            <a:off x="2813222" y="2929065"/>
            <a:ext cx="1145057" cy="2652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384C1C66-C0FA-E7B1-2704-CB59848AE149}"/>
              </a:ext>
            </a:extLst>
          </p:cNvPr>
          <p:cNvCxnSpPr>
            <a:cxnSpLocks/>
            <a:stCxn id="17" idx="0"/>
            <a:endCxn id="14" idx="4"/>
          </p:cNvCxnSpPr>
          <p:nvPr/>
        </p:nvCxnSpPr>
        <p:spPr>
          <a:xfrm flipV="1">
            <a:off x="6589699" y="2877407"/>
            <a:ext cx="0" cy="166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32DB0FAC-0587-8815-9606-778660D58024}"/>
              </a:ext>
            </a:extLst>
          </p:cNvPr>
          <p:cNvCxnSpPr>
            <a:cxnSpLocks/>
            <a:stCxn id="15" idx="6"/>
            <a:endCxn id="17" idx="2"/>
          </p:cNvCxnSpPr>
          <p:nvPr/>
        </p:nvCxnSpPr>
        <p:spPr>
          <a:xfrm flipV="1">
            <a:off x="3233352" y="4957894"/>
            <a:ext cx="2936217" cy="10433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723B614B-3684-8122-37A2-52AA3EC32D3C}"/>
              </a:ext>
            </a:extLst>
          </p:cNvPr>
          <p:cNvSpPr/>
          <p:nvPr/>
        </p:nvSpPr>
        <p:spPr>
          <a:xfrm>
            <a:off x="8279645" y="3396303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5184693C-EFA0-302A-3D1D-B12C553351E7}"/>
              </a:ext>
            </a:extLst>
          </p:cNvPr>
          <p:cNvCxnSpPr>
            <a:cxnSpLocks/>
            <a:stCxn id="17" idx="7"/>
            <a:endCxn id="25" idx="3"/>
          </p:cNvCxnSpPr>
          <p:nvPr/>
        </p:nvCxnSpPr>
        <p:spPr>
          <a:xfrm flipV="1">
            <a:off x="6886776" y="4113510"/>
            <a:ext cx="1515922" cy="547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0982C268-59E5-F37B-5093-DD593DEEC1F5}"/>
              </a:ext>
            </a:extLst>
          </p:cNvPr>
          <p:cNvSpPr txBox="1"/>
          <p:nvPr/>
        </p:nvSpPr>
        <p:spPr>
          <a:xfrm>
            <a:off x="2323068" y="2253990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4E1A058A-3FE5-EA6C-3C0B-592053A020E4}"/>
              </a:ext>
            </a:extLst>
          </p:cNvPr>
          <p:cNvSpPr txBox="1"/>
          <p:nvPr/>
        </p:nvSpPr>
        <p:spPr>
          <a:xfrm>
            <a:off x="5331680" y="2415742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1D8AA4E3-60C5-655D-D620-F93824DFD84E}"/>
              </a:ext>
            </a:extLst>
          </p:cNvPr>
          <p:cNvSpPr txBox="1"/>
          <p:nvPr/>
        </p:nvSpPr>
        <p:spPr>
          <a:xfrm>
            <a:off x="3538149" y="395973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6km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51CA9FEF-EB4E-4367-CC08-6D7991148232}"/>
              </a:ext>
            </a:extLst>
          </p:cNvPr>
          <p:cNvSpPr txBox="1"/>
          <p:nvPr/>
        </p:nvSpPr>
        <p:spPr>
          <a:xfrm>
            <a:off x="6760402" y="3476753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4km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919ABB5-40E2-C0F9-CB0C-110CDA3F89C5}"/>
              </a:ext>
            </a:extLst>
          </p:cNvPr>
          <p:cNvSpPr txBox="1"/>
          <p:nvPr/>
        </p:nvSpPr>
        <p:spPr>
          <a:xfrm>
            <a:off x="4704424" y="5480658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5km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218D9ED3-08E8-B142-15FA-C555292DA92C}"/>
              </a:ext>
            </a:extLst>
          </p:cNvPr>
          <p:cNvSpPr txBox="1"/>
          <p:nvPr/>
        </p:nvSpPr>
        <p:spPr>
          <a:xfrm>
            <a:off x="7492362" y="449622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</p:spTree>
    <p:extLst>
      <p:ext uri="{BB962C8B-B14F-4D97-AF65-F5344CB8AC3E}">
        <p14:creationId xmlns:p14="http://schemas.microsoft.com/office/powerpoint/2010/main" val="34457215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24044-4214-8263-7287-4F989C236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0D3086-F04E-6CFF-EF74-32B2F6B7F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D7F9B5E-C3D7-F8F6-6067-43A6AF7294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t-BR" b="1" dirty="0"/>
              <a:t>Passo 2: "Calcula o peso total de todas as arestas originais."</a:t>
            </a:r>
          </a:p>
          <a:p>
            <a:r>
              <a:rPr lang="pt-BR" dirty="0"/>
              <a:t>Somamos o comprimento de todas as ruas do mapa.</a:t>
            </a:r>
          </a:p>
          <a:p>
            <a:r>
              <a:rPr lang="pt-BR" dirty="0"/>
              <a:t>Este valor é a nossa </a:t>
            </a:r>
            <a:r>
              <a:rPr lang="pt-BR" b="1" dirty="0"/>
              <a:t>linha de base</a:t>
            </a:r>
            <a:r>
              <a:rPr lang="pt-BR" dirty="0"/>
              <a:t>, a distância mínima teórica que o carteiro teria que percorrer se o mapa fosse "perfeito". </a:t>
            </a:r>
          </a:p>
          <a:p>
            <a:r>
              <a:rPr lang="pt-BR" dirty="0"/>
              <a:t>A solução final será, no mínimo, este valor. O custo extra virá das ruas que ele precisar repetir.</a:t>
            </a:r>
          </a:p>
        </p:txBody>
      </p:sp>
    </p:spTree>
    <p:extLst>
      <p:ext uri="{BB962C8B-B14F-4D97-AF65-F5344CB8AC3E}">
        <p14:creationId xmlns:p14="http://schemas.microsoft.com/office/powerpoint/2010/main" val="2946021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6EB1A-DF9A-AC8A-67F0-9DA0ED7522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549ACEB-54C3-412D-5F5D-12FE4693C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6777BC5-F839-8509-D7AF-E889414345DE}"/>
              </a:ext>
            </a:extLst>
          </p:cNvPr>
          <p:cNvSpPr/>
          <p:nvPr/>
        </p:nvSpPr>
        <p:spPr>
          <a:xfrm>
            <a:off x="1482808" y="291053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7F9E37D-11F3-DFD4-9526-24315E2A4836}"/>
              </a:ext>
            </a:extLst>
          </p:cNvPr>
          <p:cNvSpPr/>
          <p:nvPr/>
        </p:nvSpPr>
        <p:spPr>
          <a:xfrm>
            <a:off x="3538149" y="2088805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9ECEF5F-60F8-B547-C93A-59948705F424}"/>
              </a:ext>
            </a:extLst>
          </p:cNvPr>
          <p:cNvSpPr/>
          <p:nvPr/>
        </p:nvSpPr>
        <p:spPr>
          <a:xfrm>
            <a:off x="6169569" y="2037147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C</a:t>
            </a:r>
            <a:endParaRPr lang="pt-BR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AA83177-7C3C-BAEF-4362-2FEDDEF9BC8E}"/>
              </a:ext>
            </a:extLst>
          </p:cNvPr>
          <p:cNvSpPr/>
          <p:nvPr/>
        </p:nvSpPr>
        <p:spPr>
          <a:xfrm>
            <a:off x="2393092" y="558114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42DDC1E-FD40-F2AC-A086-2B13AE048AE7}"/>
              </a:ext>
            </a:extLst>
          </p:cNvPr>
          <p:cNvSpPr/>
          <p:nvPr/>
        </p:nvSpPr>
        <p:spPr>
          <a:xfrm>
            <a:off x="6169569" y="4537764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3E7D89-EC76-2EDD-BA56-7F2304691551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2200015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58B4813F-82A9-BE53-6B42-41C3E9B89A83}"/>
              </a:ext>
            </a:extLst>
          </p:cNvPr>
          <p:cNvCxnSpPr>
            <a:cxnSpLocks/>
            <a:stCxn id="8" idx="2"/>
            <a:endCxn id="7" idx="6"/>
          </p:cNvCxnSpPr>
          <p:nvPr/>
        </p:nvCxnSpPr>
        <p:spPr>
          <a:xfrm flipH="1">
            <a:off x="4378409" y="2457277"/>
            <a:ext cx="1791160" cy="51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25CCBA09-FE01-DC5A-BC74-9350A8452653}"/>
              </a:ext>
            </a:extLst>
          </p:cNvPr>
          <p:cNvCxnSpPr>
            <a:cxnSpLocks/>
            <a:stCxn id="9" idx="0"/>
            <a:endCxn id="7" idx="4"/>
          </p:cNvCxnSpPr>
          <p:nvPr/>
        </p:nvCxnSpPr>
        <p:spPr>
          <a:xfrm flipV="1">
            <a:off x="2813222" y="2929065"/>
            <a:ext cx="1145057" cy="2652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FE1ED9AF-B311-9C45-A020-20B47DA2BE37}"/>
              </a:ext>
            </a:extLst>
          </p:cNvPr>
          <p:cNvCxnSpPr>
            <a:cxnSpLocks/>
            <a:stCxn id="10" idx="0"/>
            <a:endCxn id="8" idx="4"/>
          </p:cNvCxnSpPr>
          <p:nvPr/>
        </p:nvCxnSpPr>
        <p:spPr>
          <a:xfrm flipV="1">
            <a:off x="6589699" y="2877407"/>
            <a:ext cx="0" cy="166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57C2D087-AC8D-0F8F-09D4-E61FF50B3CF2}"/>
              </a:ext>
            </a:extLst>
          </p:cNvPr>
          <p:cNvCxnSpPr>
            <a:cxnSpLocks/>
            <a:stCxn id="9" idx="6"/>
            <a:endCxn id="10" idx="2"/>
          </p:cNvCxnSpPr>
          <p:nvPr/>
        </p:nvCxnSpPr>
        <p:spPr>
          <a:xfrm flipV="1">
            <a:off x="3233352" y="4957894"/>
            <a:ext cx="2936217" cy="10433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0BB6D2B8-7D63-0D2F-5EEB-49F1F5C35D70}"/>
              </a:ext>
            </a:extLst>
          </p:cNvPr>
          <p:cNvSpPr/>
          <p:nvPr/>
        </p:nvSpPr>
        <p:spPr>
          <a:xfrm>
            <a:off x="8279645" y="3396303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57AB95C5-91B3-B432-C1C1-76D1F1F79AF5}"/>
              </a:ext>
            </a:extLst>
          </p:cNvPr>
          <p:cNvCxnSpPr>
            <a:cxnSpLocks/>
            <a:stCxn id="10" idx="7"/>
            <a:endCxn id="27" idx="3"/>
          </p:cNvCxnSpPr>
          <p:nvPr/>
        </p:nvCxnSpPr>
        <p:spPr>
          <a:xfrm flipV="1">
            <a:off x="6886776" y="4113510"/>
            <a:ext cx="1515922" cy="547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9FCC42B3-1C96-EEE6-3A50-4B50C5490FDB}"/>
              </a:ext>
            </a:extLst>
          </p:cNvPr>
          <p:cNvSpPr txBox="1"/>
          <p:nvPr/>
        </p:nvSpPr>
        <p:spPr>
          <a:xfrm>
            <a:off x="2323068" y="2253990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E0EECFD5-36EB-6243-504B-708612715046}"/>
              </a:ext>
            </a:extLst>
          </p:cNvPr>
          <p:cNvSpPr txBox="1"/>
          <p:nvPr/>
        </p:nvSpPr>
        <p:spPr>
          <a:xfrm>
            <a:off x="5331680" y="2415742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13C36A6-DEB1-258A-0E29-4244A9B8F232}"/>
              </a:ext>
            </a:extLst>
          </p:cNvPr>
          <p:cNvSpPr txBox="1"/>
          <p:nvPr/>
        </p:nvSpPr>
        <p:spPr>
          <a:xfrm>
            <a:off x="3538149" y="395973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6km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EC1D7297-24EE-6910-4A7F-A1C7ABA69499}"/>
              </a:ext>
            </a:extLst>
          </p:cNvPr>
          <p:cNvSpPr txBox="1"/>
          <p:nvPr/>
        </p:nvSpPr>
        <p:spPr>
          <a:xfrm>
            <a:off x="6760402" y="3476753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4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7AE5544D-41F7-7345-A35D-F317C2AF5EDC}"/>
              </a:ext>
            </a:extLst>
          </p:cNvPr>
          <p:cNvSpPr txBox="1"/>
          <p:nvPr/>
        </p:nvSpPr>
        <p:spPr>
          <a:xfrm>
            <a:off x="4704424" y="5480658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5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7C81F761-75F2-C3D8-54FE-D471C601C9DF}"/>
              </a:ext>
            </a:extLst>
          </p:cNvPr>
          <p:cNvSpPr txBox="1"/>
          <p:nvPr/>
        </p:nvSpPr>
        <p:spPr>
          <a:xfrm>
            <a:off x="7492362" y="449622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254BBF2-42C9-5AD2-567C-C46854D6D7F5}"/>
              </a:ext>
            </a:extLst>
          </p:cNvPr>
          <p:cNvSpPr txBox="1"/>
          <p:nvPr/>
        </p:nvSpPr>
        <p:spPr>
          <a:xfrm>
            <a:off x="4378409" y="5977370"/>
            <a:ext cx="7452898" cy="7078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sz="2000" dirty="0"/>
              <a:t>Custo Original = 2 (A-B) + 3 (B-C) + 6 (B-D) + 4 (C-E) + 5 (D-E) + 3 (E-F)</a:t>
            </a:r>
            <a:r>
              <a:rPr lang="pt-BR" sz="20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</a:t>
            </a:r>
          </a:p>
          <a:p>
            <a:r>
              <a:rPr lang="pt-BR" sz="2000" dirty="0"/>
              <a:t>Custo Original = 2 + 3 + 6 + 4 + 5 + 3 = 23 km.</a:t>
            </a:r>
          </a:p>
        </p:txBody>
      </p:sp>
    </p:spTree>
    <p:extLst>
      <p:ext uri="{BB962C8B-B14F-4D97-AF65-F5344CB8AC3E}">
        <p14:creationId xmlns:p14="http://schemas.microsoft.com/office/powerpoint/2010/main" val="33585823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BE27D-FB37-B2DE-A2AC-32272252D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9CF85A6-585E-2644-3E55-3B1BCFE56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C2DF257-7AEB-58CC-0929-D59832B0C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10515600" cy="473573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t-BR" b="1" dirty="0"/>
              <a:t>Passo 3: "Identifica todos os vértices de grau ímpar."</a:t>
            </a:r>
          </a:p>
          <a:p>
            <a:r>
              <a:rPr lang="pt-BR" dirty="0"/>
              <a:t>Para cada rua que o carteiro usa para </a:t>
            </a:r>
            <a:r>
              <a:rPr lang="pt-BR" i="1" dirty="0"/>
              <a:t>chegar</a:t>
            </a:r>
            <a:r>
              <a:rPr lang="pt-BR" dirty="0"/>
              <a:t>, ele precisa de outra para </a:t>
            </a:r>
            <a:r>
              <a:rPr lang="pt-BR" i="1" dirty="0"/>
              <a:t>sair</a:t>
            </a:r>
            <a:r>
              <a:rPr lang="pt-BR" dirty="0"/>
              <a:t> e continuar seu percurso. </a:t>
            </a:r>
          </a:p>
          <a:p>
            <a:r>
              <a:rPr lang="pt-BR" dirty="0"/>
              <a:t>Isso funciona perfeitamente em cruzamentos com 2, 4, 6 ruas (grau par). Mas em um cruzamento com 3 ruas (grau ímpar), se ele chega por uma rua e sai por outra, sobra uma terceira rua. Ao retornar para percorrer essa rua que faltou, ele ficará "preso" no cruzamento ou será forçado a repetir uma rua para poder sair. </a:t>
            </a:r>
          </a:p>
          <a:p>
            <a:r>
              <a:rPr lang="pt-BR" b="1" dirty="0"/>
              <a:t>Por isso, vértices de grau ímpar são os pontos que quebram o fluxo perfeito e obrigam o carteiro a repetir um trajeto.</a:t>
            </a:r>
            <a:endParaRPr lang="pt-BR" dirty="0"/>
          </a:p>
          <a:p>
            <a:r>
              <a:rPr lang="pt-BR" dirty="0"/>
              <a:t>Para cada vértice do grafo, contamos quantas arestas estão conectadas a ele. Se o número for ímpar, adicionamos o vértice a uma "lista de problemas".</a:t>
            </a:r>
          </a:p>
        </p:txBody>
      </p:sp>
    </p:spTree>
    <p:extLst>
      <p:ext uri="{BB962C8B-B14F-4D97-AF65-F5344CB8AC3E}">
        <p14:creationId xmlns:p14="http://schemas.microsoft.com/office/powerpoint/2010/main" val="633970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E1622-26BB-B80A-C603-5F074D211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DE64F4-9720-5C6F-D7A3-AA934F37A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BB5718-5930-435D-7B61-9D67D2EE75CF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3B1723-4788-0E34-2836-EFC5EAE7CE38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E875B5D-F5C9-8E0E-303F-0ED1E02E9416}"/>
              </a:ext>
            </a:extLst>
          </p:cNvPr>
          <p:cNvSpPr/>
          <p:nvPr/>
        </p:nvSpPr>
        <p:spPr>
          <a:xfrm>
            <a:off x="5020386" y="2037147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C</a:t>
            </a:r>
            <a:endParaRPr lang="pt-BR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C1132C-C106-2883-22D2-018A9D72E632}"/>
              </a:ext>
            </a:extLst>
          </p:cNvPr>
          <p:cNvSpPr/>
          <p:nvPr/>
        </p:nvSpPr>
        <p:spPr>
          <a:xfrm>
            <a:off x="1243909" y="558114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E1BF6C1-28FB-BFC4-3DDE-383983A93374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49EF7276-F684-A357-1529-6793F935A393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11BA3AF0-2C23-8684-38D3-F89F02C78BDC}"/>
              </a:ext>
            </a:extLst>
          </p:cNvPr>
          <p:cNvCxnSpPr>
            <a:cxnSpLocks/>
            <a:stCxn id="8" idx="2"/>
            <a:endCxn id="7" idx="6"/>
          </p:cNvCxnSpPr>
          <p:nvPr/>
        </p:nvCxnSpPr>
        <p:spPr>
          <a:xfrm flipH="1">
            <a:off x="3229226" y="2457277"/>
            <a:ext cx="1791160" cy="51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11B05A9A-151D-A22F-A91F-DAA07C31F116}"/>
              </a:ext>
            </a:extLst>
          </p:cNvPr>
          <p:cNvCxnSpPr>
            <a:cxnSpLocks/>
            <a:stCxn id="9" idx="0"/>
            <a:endCxn id="7" idx="4"/>
          </p:cNvCxnSpPr>
          <p:nvPr/>
        </p:nvCxnSpPr>
        <p:spPr>
          <a:xfrm flipV="1">
            <a:off x="1664039" y="2929065"/>
            <a:ext cx="1145057" cy="2652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B1F46C15-BE8F-FBCC-9E0E-0DF590530D6F}"/>
              </a:ext>
            </a:extLst>
          </p:cNvPr>
          <p:cNvCxnSpPr>
            <a:cxnSpLocks/>
            <a:stCxn id="10" idx="0"/>
            <a:endCxn id="8" idx="4"/>
          </p:cNvCxnSpPr>
          <p:nvPr/>
        </p:nvCxnSpPr>
        <p:spPr>
          <a:xfrm flipV="1">
            <a:off x="5440516" y="2877407"/>
            <a:ext cx="0" cy="166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2633C683-65B0-A486-F085-FD14ED74094D}"/>
              </a:ext>
            </a:extLst>
          </p:cNvPr>
          <p:cNvCxnSpPr>
            <a:cxnSpLocks/>
            <a:stCxn id="9" idx="6"/>
            <a:endCxn id="10" idx="2"/>
          </p:cNvCxnSpPr>
          <p:nvPr/>
        </p:nvCxnSpPr>
        <p:spPr>
          <a:xfrm flipV="1">
            <a:off x="2084169" y="4957894"/>
            <a:ext cx="2936217" cy="10433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DADCAF38-1845-A5BA-A69A-2AA00DBD174D}"/>
              </a:ext>
            </a:extLst>
          </p:cNvPr>
          <p:cNvSpPr/>
          <p:nvPr/>
        </p:nvSpPr>
        <p:spPr>
          <a:xfrm>
            <a:off x="7130462" y="3396303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D15F37D0-860C-D544-5BB3-5F59F430287D}"/>
              </a:ext>
            </a:extLst>
          </p:cNvPr>
          <p:cNvCxnSpPr>
            <a:cxnSpLocks/>
            <a:stCxn id="10" idx="7"/>
            <a:endCxn id="27" idx="3"/>
          </p:cNvCxnSpPr>
          <p:nvPr/>
        </p:nvCxnSpPr>
        <p:spPr>
          <a:xfrm flipV="1">
            <a:off x="5737593" y="4113510"/>
            <a:ext cx="1515922" cy="547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1CF25E2A-DA39-2AD1-6FF8-EC411CDF1995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07B6BF82-9675-6FA3-D638-37BDBAAE7D9A}"/>
              </a:ext>
            </a:extLst>
          </p:cNvPr>
          <p:cNvSpPr txBox="1"/>
          <p:nvPr/>
        </p:nvSpPr>
        <p:spPr>
          <a:xfrm>
            <a:off x="4182497" y="2415742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3291ED57-E31F-1A6D-CF0D-C16E68E0D3B3}"/>
              </a:ext>
            </a:extLst>
          </p:cNvPr>
          <p:cNvSpPr txBox="1"/>
          <p:nvPr/>
        </p:nvSpPr>
        <p:spPr>
          <a:xfrm>
            <a:off x="2388966" y="395973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6km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FAD35FD0-E8F0-AC7D-ECE0-6FDED60DEF43}"/>
              </a:ext>
            </a:extLst>
          </p:cNvPr>
          <p:cNvSpPr txBox="1"/>
          <p:nvPr/>
        </p:nvSpPr>
        <p:spPr>
          <a:xfrm>
            <a:off x="5611219" y="3476753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4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F02B92E9-E197-E577-6548-042E49E142E5}"/>
              </a:ext>
            </a:extLst>
          </p:cNvPr>
          <p:cNvSpPr txBox="1"/>
          <p:nvPr/>
        </p:nvSpPr>
        <p:spPr>
          <a:xfrm>
            <a:off x="3555241" y="5480658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5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C6E5BFB6-7663-5C63-2A6F-069865D0950F}"/>
              </a:ext>
            </a:extLst>
          </p:cNvPr>
          <p:cNvSpPr txBox="1"/>
          <p:nvPr/>
        </p:nvSpPr>
        <p:spPr>
          <a:xfrm>
            <a:off x="6343179" y="449622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47F9FE2-AF42-D7C8-4BB4-6F47682FA0BA}"/>
              </a:ext>
            </a:extLst>
          </p:cNvPr>
          <p:cNvSpPr txBox="1"/>
          <p:nvPr/>
        </p:nvSpPr>
        <p:spPr>
          <a:xfrm>
            <a:off x="8765087" y="2097048"/>
            <a:ext cx="2936217" cy="255454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pt-BR" sz="2000" b="1" dirty="0"/>
              <a:t>Grau(A):</a:t>
            </a:r>
            <a:r>
              <a:rPr lang="pt-BR" sz="2000" dirty="0"/>
              <a:t> 1 (Ímpar)</a:t>
            </a:r>
          </a:p>
          <a:p>
            <a:pPr>
              <a:buNone/>
            </a:pPr>
            <a:r>
              <a:rPr lang="pt-BR" sz="2000" b="1" dirty="0"/>
              <a:t>Grau(B):</a:t>
            </a:r>
            <a:r>
              <a:rPr lang="pt-BR" sz="2000" dirty="0"/>
              <a:t> 3 (Ímpar)</a:t>
            </a:r>
          </a:p>
          <a:p>
            <a:pPr>
              <a:buNone/>
            </a:pPr>
            <a:r>
              <a:rPr lang="pt-BR" sz="2000" b="1" dirty="0"/>
              <a:t>Grau(C):</a:t>
            </a:r>
            <a:r>
              <a:rPr lang="pt-BR" sz="2000" dirty="0"/>
              <a:t> 2 (Par)</a:t>
            </a:r>
          </a:p>
          <a:p>
            <a:pPr>
              <a:buNone/>
            </a:pPr>
            <a:r>
              <a:rPr lang="pt-BR" sz="2000" b="1" dirty="0"/>
              <a:t>Grau(</a:t>
            </a:r>
            <a:r>
              <a:rPr lang="pt-BR" sz="2000" b="1" dirty="0" err="1"/>
              <a:t>D</a:t>
            </a:r>
            <a:r>
              <a:rPr lang="pt-BR" sz="2000" b="1" dirty="0"/>
              <a:t>):</a:t>
            </a:r>
            <a:r>
              <a:rPr lang="pt-BR" sz="2000" dirty="0"/>
              <a:t> 2 (Par)</a:t>
            </a:r>
          </a:p>
          <a:p>
            <a:pPr>
              <a:buNone/>
            </a:pPr>
            <a:r>
              <a:rPr lang="pt-BR" sz="2000" b="1" dirty="0"/>
              <a:t>Grau(E):</a:t>
            </a:r>
            <a:r>
              <a:rPr lang="pt-BR" sz="2000" dirty="0"/>
              <a:t> 3 (Ímpar)</a:t>
            </a:r>
          </a:p>
          <a:p>
            <a:r>
              <a:rPr lang="pt-BR" sz="2000" b="1" dirty="0"/>
              <a:t>Grau(</a:t>
            </a:r>
            <a:r>
              <a:rPr lang="pt-BR" sz="2000" b="1" dirty="0" err="1"/>
              <a:t>F</a:t>
            </a:r>
            <a:r>
              <a:rPr lang="pt-BR" sz="2000" b="1" dirty="0"/>
              <a:t>):</a:t>
            </a:r>
            <a:r>
              <a:rPr lang="pt-BR" sz="2000" dirty="0"/>
              <a:t> 1 (Ímpar)</a:t>
            </a:r>
          </a:p>
          <a:p>
            <a:endParaRPr lang="pt-BR" sz="2000" dirty="0"/>
          </a:p>
          <a:p>
            <a:r>
              <a:rPr lang="pt-BR" sz="2000" dirty="0"/>
              <a:t>LP = </a:t>
            </a:r>
            <a:r>
              <a:rPr lang="pt-BR" sz="2000" b="1" i="0" u="none" strike="noStrike" dirty="0">
                <a:solidFill>
                  <a:srgbClr val="000000"/>
                </a:solidFill>
                <a:effectLst/>
              </a:rPr>
              <a:t>{A, B, E, </a:t>
            </a:r>
            <a:r>
              <a:rPr lang="pt-BR" sz="2000" b="1" i="0" u="none" strike="noStrike" dirty="0" err="1">
                <a:solidFill>
                  <a:srgbClr val="000000"/>
                </a:solidFill>
                <a:effectLst/>
              </a:rPr>
              <a:t>F</a:t>
            </a:r>
            <a:r>
              <a:rPr lang="pt-BR" sz="2000" b="1" i="0" u="none" strike="noStrike" dirty="0">
                <a:solidFill>
                  <a:srgbClr val="000000"/>
                </a:solidFill>
                <a:effectLst/>
              </a:rPr>
              <a:t>}</a:t>
            </a:r>
            <a:r>
              <a:rPr lang="pt-BR" sz="20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.</a:t>
            </a: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41831877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4154F-CA70-2F1A-CB11-183829C12D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AC16B7-F82C-BDAE-EB3E-89944660B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9B12FA9-EED3-6374-FAB7-6458FEC440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10515600" cy="473573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b="1" dirty="0"/>
              <a:t>Passo 4: "Se não houver vértices de grau ímpar, o problema está resolvido."</a:t>
            </a:r>
          </a:p>
          <a:p>
            <a:r>
              <a:rPr lang="pt-BR" dirty="0"/>
              <a:t>Verificamos se a "lista de problemas" do passo anterior está vazia.</a:t>
            </a:r>
          </a:p>
          <a:p>
            <a:r>
              <a:rPr lang="pt-BR" dirty="0"/>
              <a:t>Se a lista estiver vazia, significa que todos os cruzamentos são de grau par. </a:t>
            </a:r>
          </a:p>
          <a:p>
            <a:r>
              <a:rPr lang="pt-BR" dirty="0"/>
              <a:t>Isso descreve um grafo perfeitamente "balanceado", que possui um </a:t>
            </a:r>
            <a:r>
              <a:rPr lang="pt-BR" b="1" dirty="0"/>
              <a:t>Ciclo de Euler</a:t>
            </a:r>
            <a:r>
              <a:rPr lang="pt-BR" dirty="0"/>
              <a:t>. O carteiro pode percorrer cada rua exatamente uma vez e voltar ao início sem esforço extra. </a:t>
            </a:r>
          </a:p>
          <a:p>
            <a:r>
              <a:rPr lang="pt-BR" dirty="0"/>
              <a:t>A rota ótima é simplesmente o próprio ciclo, e seu custo é o valor que calculamos no Passo 2.</a:t>
            </a:r>
          </a:p>
        </p:txBody>
      </p:sp>
    </p:spTree>
    <p:extLst>
      <p:ext uri="{BB962C8B-B14F-4D97-AF65-F5344CB8AC3E}">
        <p14:creationId xmlns:p14="http://schemas.microsoft.com/office/powerpoint/2010/main" val="3094991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06696A-E7F1-1A66-C142-6668E27877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16EC46-CDDA-E0B1-6803-189EB4904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345BA8-50B2-6182-2801-492BF86FD4E5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22F41E1-26B6-9D86-D595-95843EE3ECC8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FF437E1-D1D2-2679-D88E-BEC933C8B650}"/>
              </a:ext>
            </a:extLst>
          </p:cNvPr>
          <p:cNvSpPr/>
          <p:nvPr/>
        </p:nvSpPr>
        <p:spPr>
          <a:xfrm>
            <a:off x="5020386" y="2037147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C</a:t>
            </a:r>
            <a:endParaRPr lang="pt-BR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917752A-3B87-7311-EA86-8932B3484BB6}"/>
              </a:ext>
            </a:extLst>
          </p:cNvPr>
          <p:cNvSpPr/>
          <p:nvPr/>
        </p:nvSpPr>
        <p:spPr>
          <a:xfrm>
            <a:off x="1243909" y="558114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C44D113-3120-1357-370C-2E8D0DC3E41E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26BA9722-508E-FDC2-EFCF-AE7E15DA3593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72E1CC8D-519C-34D8-8993-F56BD3E07B8B}"/>
              </a:ext>
            </a:extLst>
          </p:cNvPr>
          <p:cNvCxnSpPr>
            <a:cxnSpLocks/>
            <a:stCxn id="9" idx="7"/>
            <a:endCxn id="7" idx="6"/>
          </p:cNvCxnSpPr>
          <p:nvPr/>
        </p:nvCxnSpPr>
        <p:spPr>
          <a:xfrm flipV="1">
            <a:off x="1961116" y="2508935"/>
            <a:ext cx="1268110" cy="31952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69164E46-E7A6-7146-EB86-0F21BF232320}"/>
              </a:ext>
            </a:extLst>
          </p:cNvPr>
          <p:cNvCxnSpPr>
            <a:cxnSpLocks/>
            <a:stCxn id="9" idx="1"/>
            <a:endCxn id="6" idx="4"/>
          </p:cNvCxnSpPr>
          <p:nvPr/>
        </p:nvCxnSpPr>
        <p:spPr>
          <a:xfrm flipH="1" flipV="1">
            <a:off x="753755" y="3750790"/>
            <a:ext cx="613207" cy="1953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1EC5A4B2-9FFD-CE41-B189-CA66F14F6AFF}"/>
              </a:ext>
            </a:extLst>
          </p:cNvPr>
          <p:cNvCxnSpPr>
            <a:cxnSpLocks/>
            <a:stCxn id="10" idx="0"/>
            <a:endCxn id="8" idx="4"/>
          </p:cNvCxnSpPr>
          <p:nvPr/>
        </p:nvCxnSpPr>
        <p:spPr>
          <a:xfrm flipV="1">
            <a:off x="5440516" y="2877407"/>
            <a:ext cx="0" cy="166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632958C5-B95D-9CCB-8504-B50F7305029D}"/>
              </a:ext>
            </a:extLst>
          </p:cNvPr>
          <p:cNvCxnSpPr>
            <a:cxnSpLocks/>
            <a:stCxn id="9" idx="6"/>
            <a:endCxn id="8" idx="3"/>
          </p:cNvCxnSpPr>
          <p:nvPr/>
        </p:nvCxnSpPr>
        <p:spPr>
          <a:xfrm flipV="1">
            <a:off x="2084169" y="2754354"/>
            <a:ext cx="3059270" cy="3246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361DE67F-6D8F-3CB0-B7BC-F74DBEC3CF59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E69B812F-5CF5-49B6-5979-141590ECDFC9}"/>
              </a:ext>
            </a:extLst>
          </p:cNvPr>
          <p:cNvSpPr txBox="1"/>
          <p:nvPr/>
        </p:nvSpPr>
        <p:spPr>
          <a:xfrm>
            <a:off x="5733561" y="3452853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32292B29-F1F2-E59F-24B0-70C32048BED1}"/>
              </a:ext>
            </a:extLst>
          </p:cNvPr>
          <p:cNvSpPr txBox="1"/>
          <p:nvPr/>
        </p:nvSpPr>
        <p:spPr>
          <a:xfrm>
            <a:off x="1297765" y="3988145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6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824885AF-E193-4598-14F1-B88FB76B5E83}"/>
              </a:ext>
            </a:extLst>
          </p:cNvPr>
          <p:cNvSpPr txBox="1"/>
          <p:nvPr/>
        </p:nvSpPr>
        <p:spPr>
          <a:xfrm>
            <a:off x="3761027" y="5095533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5km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01FD9056-559B-7C54-1C85-58E925D1D0CC}"/>
              </a:ext>
            </a:extLst>
          </p:cNvPr>
          <p:cNvSpPr txBox="1"/>
          <p:nvPr/>
        </p:nvSpPr>
        <p:spPr>
          <a:xfrm>
            <a:off x="7651807" y="3458402"/>
            <a:ext cx="3629368" cy="5847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pt-BR" sz="3200" b="1" dirty="0"/>
              <a:t>Hipoteticamente...</a:t>
            </a:r>
            <a:endParaRPr lang="pt-BR" sz="3200" dirty="0"/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959C7825-C67D-7337-F621-A0F7BAA6FEAC}"/>
              </a:ext>
            </a:extLst>
          </p:cNvPr>
          <p:cNvCxnSpPr>
            <a:cxnSpLocks/>
          </p:cNvCxnSpPr>
          <p:nvPr/>
        </p:nvCxnSpPr>
        <p:spPr>
          <a:xfrm flipV="1">
            <a:off x="1898763" y="5378024"/>
            <a:ext cx="3244676" cy="8127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7E3B8833-771C-2FFC-B2EF-9FA43CE80544}"/>
              </a:ext>
            </a:extLst>
          </p:cNvPr>
          <p:cNvSpPr txBox="1"/>
          <p:nvPr/>
        </p:nvSpPr>
        <p:spPr>
          <a:xfrm>
            <a:off x="3352279" y="3449204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8km</a:t>
            </a:r>
          </a:p>
        </p:txBody>
      </p:sp>
    </p:spTree>
    <p:extLst>
      <p:ext uri="{BB962C8B-B14F-4D97-AF65-F5344CB8AC3E}">
        <p14:creationId xmlns:p14="http://schemas.microsoft.com/office/powerpoint/2010/main" val="18011728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4DC236-76E3-1401-2C4C-BD3E39140A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0FB15AF-760F-D4B9-2C7E-AA5BEC7AE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6B00F28-F0FA-9695-E51A-B198BAE2DE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10515600" cy="473573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t-BR" b="1" dirty="0"/>
              <a:t>Passo 5: "Calcula os caminhos mais curtos entre todos os pares de vértices de grau ímpar."</a:t>
            </a:r>
          </a:p>
          <a:p>
            <a:r>
              <a:rPr lang="pt-BR" dirty="0"/>
              <a:t>Agora que temos nossa lista de cruzamentos problemáticos, medimos a distância mínima no mapa original entre todos os pares possíveis desses cruzamentos.</a:t>
            </a:r>
          </a:p>
          <a:p>
            <a:r>
              <a:rPr lang="pt-BR" dirty="0"/>
              <a:t>O objetivo é "consertar" um vértice de grau ímpar adicionando um caminho extra que chegue ou saia dele. </a:t>
            </a:r>
          </a:p>
          <a:p>
            <a:r>
              <a:rPr lang="pt-BR" dirty="0"/>
              <a:t>O carteiro terá que percorrer esses caminhos duas vezes (uma na ida, e a segunda vez "virtualmente"). Para minimizar o custo extra, esses caminhos devem ser, obviamente, os mais curtos possíveis.</a:t>
            </a:r>
          </a:p>
          <a:p>
            <a:r>
              <a:rPr lang="pt-BR" dirty="0"/>
              <a:t>Para isso, usamos um algoritmo como o de </a:t>
            </a:r>
            <a:r>
              <a:rPr lang="pt-BR" b="1" dirty="0" err="1"/>
              <a:t>Dijkstra</a:t>
            </a:r>
            <a:r>
              <a:rPr lang="pt-BR" dirty="0"/>
              <a:t>. Partindo de cada vértice de grau ímpar, calculamos a distância até todos os outros vértices de grau ímpar. Guardamos esses resultados.</a:t>
            </a:r>
          </a:p>
        </p:txBody>
      </p:sp>
    </p:spTree>
    <p:extLst>
      <p:ext uri="{BB962C8B-B14F-4D97-AF65-F5344CB8AC3E}">
        <p14:creationId xmlns:p14="http://schemas.microsoft.com/office/powerpoint/2010/main" val="1921631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3A573-9B0F-C25E-D9D4-23E20AAC1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B8D59-0210-82AC-BC8A-9CA4E9493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5688343" cy="1325563"/>
          </a:xfrm>
        </p:spPr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6F91E50-9797-29CA-CED4-F890C67CC878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B006B00-9A03-67E3-6EC5-63E0FF4DF8FD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1123DEE-95DC-E821-9264-EB402EC1F3AC}"/>
              </a:ext>
            </a:extLst>
          </p:cNvPr>
          <p:cNvSpPr/>
          <p:nvPr/>
        </p:nvSpPr>
        <p:spPr>
          <a:xfrm>
            <a:off x="5020386" y="2037147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C</a:t>
            </a:r>
            <a:endParaRPr lang="pt-BR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506FD63-0428-7A23-DBCD-89D01EECBF42}"/>
              </a:ext>
            </a:extLst>
          </p:cNvPr>
          <p:cNvSpPr/>
          <p:nvPr/>
        </p:nvSpPr>
        <p:spPr>
          <a:xfrm>
            <a:off x="1243909" y="558114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C6A9FF1-4483-8197-AEA6-0D584EEC2760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975881FA-16B2-5740-18BD-57AD65F8B36B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56E0B89E-251C-2F64-D157-B8CA7F799442}"/>
              </a:ext>
            </a:extLst>
          </p:cNvPr>
          <p:cNvCxnSpPr>
            <a:cxnSpLocks/>
            <a:stCxn id="8" idx="2"/>
            <a:endCxn id="7" idx="6"/>
          </p:cNvCxnSpPr>
          <p:nvPr/>
        </p:nvCxnSpPr>
        <p:spPr>
          <a:xfrm flipH="1">
            <a:off x="3229226" y="2457277"/>
            <a:ext cx="1791160" cy="51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7F700647-E9C0-57D3-3D04-71D3115F5960}"/>
              </a:ext>
            </a:extLst>
          </p:cNvPr>
          <p:cNvCxnSpPr>
            <a:cxnSpLocks/>
            <a:stCxn id="9" idx="0"/>
            <a:endCxn id="7" idx="4"/>
          </p:cNvCxnSpPr>
          <p:nvPr/>
        </p:nvCxnSpPr>
        <p:spPr>
          <a:xfrm flipV="1">
            <a:off x="1664039" y="2929065"/>
            <a:ext cx="1145057" cy="2652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78D138C8-D201-D7CD-0371-F5B0AFC41E8F}"/>
              </a:ext>
            </a:extLst>
          </p:cNvPr>
          <p:cNvCxnSpPr>
            <a:cxnSpLocks/>
            <a:stCxn id="10" idx="0"/>
            <a:endCxn id="8" idx="4"/>
          </p:cNvCxnSpPr>
          <p:nvPr/>
        </p:nvCxnSpPr>
        <p:spPr>
          <a:xfrm flipV="1">
            <a:off x="5440516" y="2877407"/>
            <a:ext cx="0" cy="166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274E09DE-9B44-7DB7-6436-ED434B9C92DD}"/>
              </a:ext>
            </a:extLst>
          </p:cNvPr>
          <p:cNvCxnSpPr>
            <a:cxnSpLocks/>
            <a:stCxn id="9" idx="6"/>
            <a:endCxn id="10" idx="2"/>
          </p:cNvCxnSpPr>
          <p:nvPr/>
        </p:nvCxnSpPr>
        <p:spPr>
          <a:xfrm flipV="1">
            <a:off x="2084169" y="4957894"/>
            <a:ext cx="2936217" cy="10433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651E50D6-E963-0659-30B8-864F9869D82D}"/>
              </a:ext>
            </a:extLst>
          </p:cNvPr>
          <p:cNvSpPr/>
          <p:nvPr/>
        </p:nvSpPr>
        <p:spPr>
          <a:xfrm>
            <a:off x="6491458" y="5604049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C29F5058-9EB4-B9F1-F616-4C4EB2A0C55C}"/>
              </a:ext>
            </a:extLst>
          </p:cNvPr>
          <p:cNvCxnSpPr>
            <a:cxnSpLocks/>
            <a:stCxn id="10" idx="5"/>
            <a:endCxn id="27" idx="3"/>
          </p:cNvCxnSpPr>
          <p:nvPr/>
        </p:nvCxnSpPr>
        <p:spPr>
          <a:xfrm>
            <a:off x="5737593" y="5254971"/>
            <a:ext cx="876918" cy="10662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0F601297-011B-D569-BA64-94B341AF4B43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5EDAD0DA-2D45-5369-03CA-6FB777C2B1AA}"/>
              </a:ext>
            </a:extLst>
          </p:cNvPr>
          <p:cNvSpPr txBox="1"/>
          <p:nvPr/>
        </p:nvSpPr>
        <p:spPr>
          <a:xfrm>
            <a:off x="4182497" y="2415742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607A1F02-4EE0-B558-BD71-2807FBAC2703}"/>
              </a:ext>
            </a:extLst>
          </p:cNvPr>
          <p:cNvSpPr txBox="1"/>
          <p:nvPr/>
        </p:nvSpPr>
        <p:spPr>
          <a:xfrm>
            <a:off x="2388966" y="3959739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6km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95C279FB-C45F-BD7D-A5FA-CE697CEBA624}"/>
              </a:ext>
            </a:extLst>
          </p:cNvPr>
          <p:cNvSpPr txBox="1"/>
          <p:nvPr/>
        </p:nvSpPr>
        <p:spPr>
          <a:xfrm>
            <a:off x="5611219" y="3476753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4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26A58A41-A830-7979-EAEA-DA95A8725DFF}"/>
              </a:ext>
            </a:extLst>
          </p:cNvPr>
          <p:cNvSpPr txBox="1"/>
          <p:nvPr/>
        </p:nvSpPr>
        <p:spPr>
          <a:xfrm>
            <a:off x="3555241" y="5480658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5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BFB9438B-A3E0-B103-605B-BA1DECDD07CF}"/>
              </a:ext>
            </a:extLst>
          </p:cNvPr>
          <p:cNvSpPr txBox="1"/>
          <p:nvPr/>
        </p:nvSpPr>
        <p:spPr>
          <a:xfrm>
            <a:off x="5325856" y="553960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A434F9F-D375-7317-2B33-FFACB915AFE4}"/>
              </a:ext>
            </a:extLst>
          </p:cNvPr>
          <p:cNvSpPr txBox="1"/>
          <p:nvPr/>
        </p:nvSpPr>
        <p:spPr>
          <a:xfrm>
            <a:off x="6358520" y="536744"/>
            <a:ext cx="5688343" cy="48936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pt-BR" sz="2400" b="1" dirty="0"/>
              <a:t>Como ainda não aprendemos </a:t>
            </a:r>
            <a:r>
              <a:rPr lang="pt-BR" sz="2400" b="1" dirty="0" err="1"/>
              <a:t>dijkstra</a:t>
            </a:r>
            <a:r>
              <a:rPr lang="pt-BR" sz="2400" b="1" dirty="0"/>
              <a:t>...</a:t>
            </a:r>
          </a:p>
          <a:p>
            <a:pPr>
              <a:buNone/>
            </a:pPr>
            <a:r>
              <a:rPr lang="pt-BR" sz="2400" b="1" dirty="0"/>
              <a:t>A para B:</a:t>
            </a:r>
            <a:r>
              <a:rPr lang="pt-BR" sz="2400" dirty="0"/>
              <a:t> O caminho mais curto é a rua direta A-B. </a:t>
            </a:r>
            <a:r>
              <a:rPr lang="pt-BR" sz="2400" dirty="0" err="1"/>
              <a:t>Dist</a:t>
            </a:r>
            <a:r>
              <a:rPr lang="pt-BR" sz="2400" dirty="0"/>
              <a:t>(A, B) = 2</a:t>
            </a:r>
          </a:p>
          <a:p>
            <a:pPr>
              <a:buNone/>
            </a:pPr>
            <a:r>
              <a:rPr lang="pt-BR" sz="2400" b="1" dirty="0"/>
              <a:t>A para E:</a:t>
            </a:r>
            <a:r>
              <a:rPr lang="pt-BR" sz="2400" dirty="0"/>
              <a:t> O caminho mais curto é A → B → C → E. </a:t>
            </a:r>
            <a:r>
              <a:rPr lang="pt-BR" sz="2400" dirty="0" err="1"/>
              <a:t>Dist</a:t>
            </a:r>
            <a:r>
              <a:rPr lang="pt-BR" sz="2400" dirty="0"/>
              <a:t>(A, E) = 2 + 3 + 4 = 9</a:t>
            </a:r>
          </a:p>
          <a:p>
            <a:pPr>
              <a:buNone/>
            </a:pPr>
            <a:r>
              <a:rPr lang="pt-BR" sz="2400" b="1" dirty="0"/>
              <a:t>A para </a:t>
            </a:r>
            <a:r>
              <a:rPr lang="pt-BR" sz="2400" b="1" dirty="0" err="1"/>
              <a:t>F</a:t>
            </a:r>
            <a:r>
              <a:rPr lang="pt-BR" sz="2400" b="1" dirty="0"/>
              <a:t>:</a:t>
            </a:r>
            <a:r>
              <a:rPr lang="pt-BR" sz="2400" dirty="0"/>
              <a:t> O caminho mais curto é A → B → C → E → F. </a:t>
            </a:r>
            <a:r>
              <a:rPr lang="pt-BR" sz="2400" dirty="0" err="1"/>
              <a:t>Dist</a:t>
            </a:r>
            <a:r>
              <a:rPr lang="pt-BR" sz="2400" dirty="0"/>
              <a:t>(A, </a:t>
            </a:r>
            <a:r>
              <a:rPr lang="pt-BR" sz="2400" dirty="0" err="1"/>
              <a:t>F</a:t>
            </a:r>
            <a:r>
              <a:rPr lang="pt-BR" sz="2400" dirty="0"/>
              <a:t>) = 2 + 3 + 4 + 3 = 12</a:t>
            </a:r>
          </a:p>
          <a:p>
            <a:pPr>
              <a:buNone/>
            </a:pPr>
            <a:r>
              <a:rPr lang="pt-BR" sz="2400" b="1" dirty="0"/>
              <a:t>B para E:</a:t>
            </a:r>
            <a:r>
              <a:rPr lang="pt-BR" sz="2400" dirty="0"/>
              <a:t> O caminho mais curto é B → C → E. </a:t>
            </a:r>
            <a:r>
              <a:rPr lang="pt-BR" sz="2400" dirty="0" err="1"/>
              <a:t>Dist</a:t>
            </a:r>
            <a:r>
              <a:rPr lang="pt-BR" sz="2400" dirty="0"/>
              <a:t>(B, E) = 3 + 4 = 7</a:t>
            </a:r>
          </a:p>
          <a:p>
            <a:pPr>
              <a:buNone/>
            </a:pPr>
            <a:r>
              <a:rPr lang="pt-BR" sz="2400" b="1" dirty="0"/>
              <a:t>B para </a:t>
            </a:r>
            <a:r>
              <a:rPr lang="pt-BR" sz="2400" b="1" dirty="0" err="1"/>
              <a:t>F</a:t>
            </a:r>
            <a:r>
              <a:rPr lang="pt-BR" sz="2400" b="1" dirty="0"/>
              <a:t>:</a:t>
            </a:r>
            <a:r>
              <a:rPr lang="pt-BR" sz="2400" dirty="0"/>
              <a:t> O caminho mais curto é B → C → E → F. </a:t>
            </a:r>
            <a:r>
              <a:rPr lang="pt-BR" sz="2400" dirty="0" err="1"/>
              <a:t>Dist</a:t>
            </a:r>
            <a:r>
              <a:rPr lang="pt-BR" sz="2400" dirty="0"/>
              <a:t>(B, </a:t>
            </a:r>
            <a:r>
              <a:rPr lang="pt-BR" sz="2400" dirty="0" err="1"/>
              <a:t>F</a:t>
            </a:r>
            <a:r>
              <a:rPr lang="pt-BR" sz="2400" dirty="0"/>
              <a:t>) = 3 + 4 + 3 = 10</a:t>
            </a:r>
          </a:p>
          <a:p>
            <a:pPr>
              <a:buNone/>
            </a:pPr>
            <a:r>
              <a:rPr lang="pt-BR" sz="2400" b="1" dirty="0"/>
              <a:t>E para </a:t>
            </a:r>
            <a:r>
              <a:rPr lang="pt-BR" sz="2400" b="1" dirty="0" err="1"/>
              <a:t>F</a:t>
            </a:r>
            <a:r>
              <a:rPr lang="pt-BR" sz="2400" b="1" dirty="0"/>
              <a:t>:</a:t>
            </a:r>
            <a:r>
              <a:rPr lang="pt-BR" sz="2400" dirty="0"/>
              <a:t> O caminho mais curto é a rua direta E-F. </a:t>
            </a:r>
            <a:r>
              <a:rPr lang="pt-BR" sz="2400" dirty="0" err="1"/>
              <a:t>Dist</a:t>
            </a:r>
            <a:r>
              <a:rPr lang="pt-BR" sz="2400" dirty="0"/>
              <a:t>(E, </a:t>
            </a:r>
            <a:r>
              <a:rPr lang="pt-BR" sz="2400" dirty="0" err="1"/>
              <a:t>F</a:t>
            </a:r>
            <a:r>
              <a:rPr lang="pt-BR" sz="2400" dirty="0"/>
              <a:t>) = 3</a:t>
            </a:r>
          </a:p>
        </p:txBody>
      </p:sp>
    </p:spTree>
    <p:extLst>
      <p:ext uri="{BB962C8B-B14F-4D97-AF65-F5344CB8AC3E}">
        <p14:creationId xmlns:p14="http://schemas.microsoft.com/office/powerpoint/2010/main" val="3319915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DD3CC-6979-7FF9-4039-02F22AA23F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5E5004-EF58-5E9C-A441-B4D76888D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38CB9F5-ADDD-51F7-8A1B-B9D9CE104D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10515600" cy="473573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b="1" dirty="0"/>
              <a:t>Passo 6: "Cria um novo grafo apenas com os vértices ímpares..."</a:t>
            </a:r>
          </a:p>
          <a:p>
            <a:r>
              <a:rPr lang="pt-BR" dirty="0"/>
              <a:t>Construímos um "mapa resumo" apenas com os pontos problemáticos, onde a distância entre dois pontos não é a distância direta, mas sim a distância do caminho mais curto que calculamos no Passo 5.</a:t>
            </a:r>
          </a:p>
          <a:p>
            <a:r>
              <a:rPr lang="pt-BR" dirty="0"/>
              <a:t>O mapa original, com todas as suas ruas, já não importa mais. O problema agora é: "Tenho estes pontos problemáticos e sei o custo exato para viajar entre quaisquer dois deles. Qual é a forma mais barata de conectar todos eles em pares?"</a:t>
            </a:r>
          </a:p>
        </p:txBody>
      </p:sp>
    </p:spTree>
    <p:extLst>
      <p:ext uri="{BB962C8B-B14F-4D97-AF65-F5344CB8AC3E}">
        <p14:creationId xmlns:p14="http://schemas.microsoft.com/office/powerpoint/2010/main" val="2384789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DD38876E-1A36-FCC5-5DAC-44FD302DD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Passeio</a:t>
            </a:r>
            <a:r>
              <a:rPr lang="pt-BR" dirty="0"/>
              <a:t> (</a:t>
            </a:r>
            <a:r>
              <a:rPr lang="pt-BR" dirty="0" err="1"/>
              <a:t>walk</a:t>
            </a:r>
            <a:r>
              <a:rPr lang="pt-BR" dirty="0"/>
              <a:t>)</a:t>
            </a:r>
          </a:p>
        </p:txBody>
      </p:sp>
      <p:sp>
        <p:nvSpPr>
          <p:cNvPr id="7" name="Espaço Reservado para Conteúdo 6">
            <a:extLst>
              <a:ext uri="{FF2B5EF4-FFF2-40B4-BE49-F238E27FC236}">
                <a16:creationId xmlns:a16="http://schemas.microsoft.com/office/drawing/2014/main" id="{AF09EDC2-19FB-091C-5F61-73C8D753C0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Podemos representar o passeio do vértice A até o C omitindo a repetição do vértice de origem e destino que conecta as arestas.</a:t>
            </a:r>
          </a:p>
          <a:p>
            <a:r>
              <a:rPr lang="pt-BR" dirty="0"/>
              <a:t>Representamos o passeio como: A – B - C</a:t>
            </a:r>
          </a:p>
        </p:txBody>
      </p:sp>
      <p:pic>
        <p:nvPicPr>
          <p:cNvPr id="8" name="Espaço Reservado para Conteúdo 4" descr="Diagrama&#10;&#10;O conteúdo gerado por IA pode estar incorreto.">
            <a:extLst>
              <a:ext uri="{FF2B5EF4-FFF2-40B4-BE49-F238E27FC236}">
                <a16:creationId xmlns:a16="http://schemas.microsoft.com/office/drawing/2014/main" id="{52606183-1886-A7B7-A6C2-D80312BEFF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1740" y="4403158"/>
            <a:ext cx="6944868" cy="1398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67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F17147-2E10-0DCD-FCA0-8AA9BF31A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62AB56-4BEB-CF59-5994-3ADDC60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5688343" cy="1325563"/>
          </a:xfrm>
        </p:spPr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0C91285-6F56-99A9-8E09-B1BD7EE94337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23588F6-DCDF-5DAB-B2F5-6F0E79D0EB3B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9550BCC-BDAE-0E0C-37C9-3C9A36811F88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CA5FC0D0-F886-04C1-5CB2-A0457495980A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72A12A98-F97B-D102-3A39-A293D3DCBBC0}"/>
              </a:ext>
            </a:extLst>
          </p:cNvPr>
          <p:cNvCxnSpPr>
            <a:cxnSpLocks/>
            <a:endCxn id="7" idx="6"/>
          </p:cNvCxnSpPr>
          <p:nvPr/>
        </p:nvCxnSpPr>
        <p:spPr>
          <a:xfrm flipH="1" flipV="1">
            <a:off x="3229226" y="2508935"/>
            <a:ext cx="1984777" cy="22155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198D5A7E-72BB-9244-F1DF-DBCFF2F7FC65}"/>
              </a:ext>
            </a:extLst>
          </p:cNvPr>
          <p:cNvCxnSpPr>
            <a:cxnSpLocks/>
            <a:stCxn id="6" idx="5"/>
            <a:endCxn id="10" idx="2"/>
          </p:cNvCxnSpPr>
          <p:nvPr/>
        </p:nvCxnSpPr>
        <p:spPr>
          <a:xfrm>
            <a:off x="1050832" y="3627737"/>
            <a:ext cx="3969554" cy="13301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A48A320D-D6CE-DE32-5895-CD55E3AD5381}"/>
              </a:ext>
            </a:extLst>
          </p:cNvPr>
          <p:cNvCxnSpPr>
            <a:cxnSpLocks/>
            <a:stCxn id="6" idx="4"/>
            <a:endCxn id="27" idx="2"/>
          </p:cNvCxnSpPr>
          <p:nvPr/>
        </p:nvCxnSpPr>
        <p:spPr>
          <a:xfrm>
            <a:off x="753755" y="3750790"/>
            <a:ext cx="3619988" cy="2570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BDFD8C11-E4CB-60C2-F0C4-DC52B19B0B68}"/>
              </a:ext>
            </a:extLst>
          </p:cNvPr>
          <p:cNvSpPr/>
          <p:nvPr/>
        </p:nvSpPr>
        <p:spPr>
          <a:xfrm>
            <a:off x="4373743" y="5901126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E985C73E-D9D5-001A-E1BA-B814D091C6DA}"/>
              </a:ext>
            </a:extLst>
          </p:cNvPr>
          <p:cNvCxnSpPr>
            <a:cxnSpLocks/>
            <a:stCxn id="10" idx="4"/>
            <a:endCxn id="27" idx="7"/>
          </p:cNvCxnSpPr>
          <p:nvPr/>
        </p:nvCxnSpPr>
        <p:spPr>
          <a:xfrm flipH="1">
            <a:off x="5090950" y="5378024"/>
            <a:ext cx="349566" cy="6461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FD98E633-34E0-3250-E532-69CFCA0F9C14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CA9C4517-AEC6-FD08-FBB2-5DBF190E507F}"/>
              </a:ext>
            </a:extLst>
          </p:cNvPr>
          <p:cNvSpPr txBox="1"/>
          <p:nvPr/>
        </p:nvSpPr>
        <p:spPr>
          <a:xfrm>
            <a:off x="4221614" y="311861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7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0966E9D5-FF2B-5918-1C5A-8235DF8260E1}"/>
              </a:ext>
            </a:extLst>
          </p:cNvPr>
          <p:cNvSpPr txBox="1"/>
          <p:nvPr/>
        </p:nvSpPr>
        <p:spPr>
          <a:xfrm>
            <a:off x="2692236" y="3817034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9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3B93CA81-6942-F56F-2AE6-4950F2209CFE}"/>
              </a:ext>
            </a:extLst>
          </p:cNvPr>
          <p:cNvSpPr txBox="1"/>
          <p:nvPr/>
        </p:nvSpPr>
        <p:spPr>
          <a:xfrm>
            <a:off x="2247584" y="5308772"/>
            <a:ext cx="876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2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61133C6D-90B3-9B21-1D99-0360F62356B7}"/>
              </a:ext>
            </a:extLst>
          </p:cNvPr>
          <p:cNvSpPr txBox="1"/>
          <p:nvPr/>
        </p:nvSpPr>
        <p:spPr>
          <a:xfrm>
            <a:off x="5325856" y="553960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63D3319-FCA8-A21A-9F68-C6E547F3B290}"/>
              </a:ext>
            </a:extLst>
          </p:cNvPr>
          <p:cNvSpPr txBox="1"/>
          <p:nvPr/>
        </p:nvSpPr>
        <p:spPr>
          <a:xfrm>
            <a:off x="6358520" y="536744"/>
            <a:ext cx="5688343" cy="45243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pt-BR" sz="2400" b="1" dirty="0"/>
              <a:t>A para B:</a:t>
            </a:r>
            <a:r>
              <a:rPr lang="pt-BR" sz="2400" dirty="0"/>
              <a:t> O caminho mais curto é a rua direta A-B. </a:t>
            </a:r>
            <a:r>
              <a:rPr lang="pt-BR" sz="2400" dirty="0" err="1"/>
              <a:t>Dist</a:t>
            </a:r>
            <a:r>
              <a:rPr lang="pt-BR" sz="2400" dirty="0"/>
              <a:t>(A, B) = 2</a:t>
            </a:r>
          </a:p>
          <a:p>
            <a:pPr>
              <a:buNone/>
            </a:pPr>
            <a:r>
              <a:rPr lang="pt-BR" sz="2400" b="1" dirty="0"/>
              <a:t>A para E:</a:t>
            </a:r>
            <a:r>
              <a:rPr lang="pt-BR" sz="2400" dirty="0"/>
              <a:t> O caminho mais curto é A → B → C → E. </a:t>
            </a:r>
            <a:r>
              <a:rPr lang="pt-BR" sz="2400" dirty="0" err="1"/>
              <a:t>Dist</a:t>
            </a:r>
            <a:r>
              <a:rPr lang="pt-BR" sz="2400" dirty="0"/>
              <a:t>(A, E) = 2 + 3 + 4 = 9</a:t>
            </a:r>
          </a:p>
          <a:p>
            <a:pPr>
              <a:buNone/>
            </a:pPr>
            <a:r>
              <a:rPr lang="pt-BR" sz="2400" b="1" dirty="0"/>
              <a:t>A para </a:t>
            </a:r>
            <a:r>
              <a:rPr lang="pt-BR" sz="2400" b="1" dirty="0" err="1"/>
              <a:t>F</a:t>
            </a:r>
            <a:r>
              <a:rPr lang="pt-BR" sz="2400" b="1" dirty="0"/>
              <a:t>:</a:t>
            </a:r>
            <a:r>
              <a:rPr lang="pt-BR" sz="2400" dirty="0"/>
              <a:t> O caminho mais curto é A → B → C → E → F. </a:t>
            </a:r>
            <a:r>
              <a:rPr lang="pt-BR" sz="2400" dirty="0" err="1"/>
              <a:t>Dist</a:t>
            </a:r>
            <a:r>
              <a:rPr lang="pt-BR" sz="2400" dirty="0"/>
              <a:t>(A, </a:t>
            </a:r>
            <a:r>
              <a:rPr lang="pt-BR" sz="2400" dirty="0" err="1"/>
              <a:t>F</a:t>
            </a:r>
            <a:r>
              <a:rPr lang="pt-BR" sz="2400" dirty="0"/>
              <a:t>) = 2 + 3 + 4 + 3 = 12</a:t>
            </a:r>
          </a:p>
          <a:p>
            <a:pPr>
              <a:buNone/>
            </a:pPr>
            <a:r>
              <a:rPr lang="pt-BR" sz="2400" b="1" dirty="0"/>
              <a:t>B para E:</a:t>
            </a:r>
            <a:r>
              <a:rPr lang="pt-BR" sz="2400" dirty="0"/>
              <a:t> O caminho mais curto é B → C → E. </a:t>
            </a:r>
            <a:r>
              <a:rPr lang="pt-BR" sz="2400" dirty="0" err="1"/>
              <a:t>Dist</a:t>
            </a:r>
            <a:r>
              <a:rPr lang="pt-BR" sz="2400" dirty="0"/>
              <a:t>(B, E) = 3 + 4 = 7</a:t>
            </a:r>
          </a:p>
          <a:p>
            <a:pPr>
              <a:buNone/>
            </a:pPr>
            <a:r>
              <a:rPr lang="pt-BR" sz="2400" b="1" dirty="0"/>
              <a:t>B para </a:t>
            </a:r>
            <a:r>
              <a:rPr lang="pt-BR" sz="2400" b="1" dirty="0" err="1"/>
              <a:t>F</a:t>
            </a:r>
            <a:r>
              <a:rPr lang="pt-BR" sz="2400" b="1" dirty="0"/>
              <a:t>:</a:t>
            </a:r>
            <a:r>
              <a:rPr lang="pt-BR" sz="2400" dirty="0"/>
              <a:t> O caminho mais curto é B → C → E → F. </a:t>
            </a:r>
            <a:r>
              <a:rPr lang="pt-BR" sz="2400" dirty="0" err="1"/>
              <a:t>Dist</a:t>
            </a:r>
            <a:r>
              <a:rPr lang="pt-BR" sz="2400" dirty="0"/>
              <a:t>(B, </a:t>
            </a:r>
            <a:r>
              <a:rPr lang="pt-BR" sz="2400" dirty="0" err="1"/>
              <a:t>F</a:t>
            </a:r>
            <a:r>
              <a:rPr lang="pt-BR" sz="2400" dirty="0"/>
              <a:t>) = 3 + 4 + 3 = 10</a:t>
            </a:r>
          </a:p>
          <a:p>
            <a:pPr>
              <a:buNone/>
            </a:pPr>
            <a:r>
              <a:rPr lang="pt-BR" sz="2400" b="1" dirty="0"/>
              <a:t>E para </a:t>
            </a:r>
            <a:r>
              <a:rPr lang="pt-BR" sz="2400" b="1" dirty="0" err="1"/>
              <a:t>F</a:t>
            </a:r>
            <a:r>
              <a:rPr lang="pt-BR" sz="2400" b="1" dirty="0"/>
              <a:t>:</a:t>
            </a:r>
            <a:r>
              <a:rPr lang="pt-BR" sz="2400" dirty="0"/>
              <a:t> O caminho mais curto é a rua direta E-F. </a:t>
            </a:r>
            <a:r>
              <a:rPr lang="pt-BR" sz="2400" dirty="0" err="1"/>
              <a:t>Dist</a:t>
            </a:r>
            <a:r>
              <a:rPr lang="pt-BR" sz="2400" dirty="0"/>
              <a:t>(E, </a:t>
            </a:r>
            <a:r>
              <a:rPr lang="pt-BR" sz="2400" dirty="0" err="1"/>
              <a:t>F</a:t>
            </a:r>
            <a:r>
              <a:rPr lang="pt-BR" sz="2400" dirty="0"/>
              <a:t>) = 3</a:t>
            </a: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60B83EEC-1BC4-4A76-7ACE-67815616941B}"/>
              </a:ext>
            </a:extLst>
          </p:cNvPr>
          <p:cNvCxnSpPr>
            <a:cxnSpLocks/>
            <a:stCxn id="27" idx="0"/>
            <a:endCxn id="7" idx="4"/>
          </p:cNvCxnSpPr>
          <p:nvPr/>
        </p:nvCxnSpPr>
        <p:spPr>
          <a:xfrm flipH="1" flipV="1">
            <a:off x="2809096" y="2929065"/>
            <a:ext cx="1984777" cy="29720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8975C107-D6D2-44F2-C0A3-99D2AA8C79CD}"/>
              </a:ext>
            </a:extLst>
          </p:cNvPr>
          <p:cNvSpPr txBox="1"/>
          <p:nvPr/>
        </p:nvSpPr>
        <p:spPr>
          <a:xfrm>
            <a:off x="3735058" y="4965269"/>
            <a:ext cx="1052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0km</a:t>
            </a:r>
          </a:p>
        </p:txBody>
      </p:sp>
    </p:spTree>
    <p:extLst>
      <p:ext uri="{BB962C8B-B14F-4D97-AF65-F5344CB8AC3E}">
        <p14:creationId xmlns:p14="http://schemas.microsoft.com/office/powerpoint/2010/main" val="1349037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D0C1366-938F-219C-56D9-E3C5EA80C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DE9B9B0-55BC-1327-A3FF-74A78863EE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l">
              <a:buNone/>
            </a:pP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asso 7: "Encontra o 'casamento perfeito de peso mínimo'..."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No nosso "mapa resumo", encontramos a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combinação de pares 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que 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conecta todos os pontos problemáticos com a menor soma de distâncias possível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Cada par no "casamento" representa uma decisão: "O carteiro repetirá o trajeto mais curto entre estes dois cruzamentos para resolver o problema de grau ímpar deles".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Como queremos minimizar a distância total percorrida, precisamos encontrar o conjunto de pares cuja soma das distâncias seja a menor possível.</a:t>
            </a:r>
          </a:p>
        </p:txBody>
      </p:sp>
    </p:spTree>
    <p:extLst>
      <p:ext uri="{BB962C8B-B14F-4D97-AF65-F5344CB8AC3E}">
        <p14:creationId xmlns:p14="http://schemas.microsoft.com/office/powerpoint/2010/main" val="1168238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F3452C-F201-E8DF-7140-010C9013D0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C51E3A-498E-7314-3011-902F4E689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5688343" cy="1325563"/>
          </a:xfrm>
        </p:spPr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8302700-27D0-8279-F936-75EAFED96728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88F63D2-B149-6143-F7D3-D4B70762DFEE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F94DB47-F88E-13E2-28DC-770C1DA697D2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0EC415EB-8ABE-1EF8-08BC-BA170DFB1566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FA5909EB-564C-B666-29F5-91839F437D22}"/>
              </a:ext>
            </a:extLst>
          </p:cNvPr>
          <p:cNvCxnSpPr>
            <a:cxnSpLocks/>
            <a:endCxn id="7" idx="6"/>
          </p:cNvCxnSpPr>
          <p:nvPr/>
        </p:nvCxnSpPr>
        <p:spPr>
          <a:xfrm flipH="1" flipV="1">
            <a:off x="3229226" y="2508935"/>
            <a:ext cx="1984777" cy="22155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AD131F01-7C3A-A961-F784-A9D7421B6AF8}"/>
              </a:ext>
            </a:extLst>
          </p:cNvPr>
          <p:cNvCxnSpPr>
            <a:cxnSpLocks/>
            <a:stCxn id="6" idx="5"/>
            <a:endCxn id="10" idx="2"/>
          </p:cNvCxnSpPr>
          <p:nvPr/>
        </p:nvCxnSpPr>
        <p:spPr>
          <a:xfrm>
            <a:off x="1050832" y="3627737"/>
            <a:ext cx="3969554" cy="13301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2212C49D-9D1D-C299-EB48-CDBD336594F6}"/>
              </a:ext>
            </a:extLst>
          </p:cNvPr>
          <p:cNvCxnSpPr>
            <a:cxnSpLocks/>
            <a:stCxn id="6" idx="4"/>
            <a:endCxn id="27" idx="2"/>
          </p:cNvCxnSpPr>
          <p:nvPr/>
        </p:nvCxnSpPr>
        <p:spPr>
          <a:xfrm>
            <a:off x="753755" y="3750790"/>
            <a:ext cx="3619988" cy="2570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E92A6489-AFDB-C0F3-192C-CF04BC28542E}"/>
              </a:ext>
            </a:extLst>
          </p:cNvPr>
          <p:cNvSpPr/>
          <p:nvPr/>
        </p:nvSpPr>
        <p:spPr>
          <a:xfrm>
            <a:off x="4373743" y="5901126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9DC7AB32-0852-82C2-734D-5BAEBBC4CE05}"/>
              </a:ext>
            </a:extLst>
          </p:cNvPr>
          <p:cNvCxnSpPr>
            <a:cxnSpLocks/>
            <a:stCxn id="10" idx="4"/>
            <a:endCxn id="27" idx="7"/>
          </p:cNvCxnSpPr>
          <p:nvPr/>
        </p:nvCxnSpPr>
        <p:spPr>
          <a:xfrm flipH="1">
            <a:off x="5090950" y="5378024"/>
            <a:ext cx="349566" cy="6461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EEE5EC1A-6884-B1C6-AC73-EDFA7AE71234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ECDB967D-EE24-6363-73BE-773E5ACDDF50}"/>
              </a:ext>
            </a:extLst>
          </p:cNvPr>
          <p:cNvSpPr txBox="1"/>
          <p:nvPr/>
        </p:nvSpPr>
        <p:spPr>
          <a:xfrm>
            <a:off x="4221614" y="311861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7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4D2D5B3E-76E0-908A-9F3E-7CDB09701BA6}"/>
              </a:ext>
            </a:extLst>
          </p:cNvPr>
          <p:cNvSpPr txBox="1"/>
          <p:nvPr/>
        </p:nvSpPr>
        <p:spPr>
          <a:xfrm>
            <a:off x="2692236" y="3817034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9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086144EA-4F6F-CC07-FB26-CA066A4D2030}"/>
              </a:ext>
            </a:extLst>
          </p:cNvPr>
          <p:cNvSpPr txBox="1"/>
          <p:nvPr/>
        </p:nvSpPr>
        <p:spPr>
          <a:xfrm>
            <a:off x="2247584" y="5308772"/>
            <a:ext cx="876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2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EFB307AB-5AC7-DD5D-D4B7-4C4BF597E8F9}"/>
              </a:ext>
            </a:extLst>
          </p:cNvPr>
          <p:cNvSpPr txBox="1"/>
          <p:nvPr/>
        </p:nvSpPr>
        <p:spPr>
          <a:xfrm>
            <a:off x="5325856" y="553960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D274F57-3B80-3742-C68F-56520B19C42F}"/>
              </a:ext>
            </a:extLst>
          </p:cNvPr>
          <p:cNvSpPr txBox="1"/>
          <p:nvPr/>
        </p:nvSpPr>
        <p:spPr>
          <a:xfrm>
            <a:off x="6358520" y="1771165"/>
            <a:ext cx="5688343" cy="415498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(A com B) é um par válido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{(A, B), (E, </a:t>
            </a:r>
            <a:r>
              <a:rPr lang="pt-BR" sz="2400" dirty="0" err="1"/>
              <a:t>F</a:t>
            </a:r>
            <a:r>
              <a:rPr lang="pt-BR" sz="2400" dirty="0"/>
              <a:t>)} é um casamento válido com dois par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{(A, B), (A, E)} não é um casamento, pois a pessoa 'A' estaria em dois pares ao mesmo temp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Um casamento é "perfeito" quando ninguém sobra. Todos os vértices do nosso grupo são pareado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Como temos 4 vértices, um casamento perfeito terá exatamente 2 pares</a:t>
            </a: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BD3DBF98-DE58-B2D0-8707-0D5CCAFA73E7}"/>
              </a:ext>
            </a:extLst>
          </p:cNvPr>
          <p:cNvCxnSpPr>
            <a:cxnSpLocks/>
            <a:stCxn id="27" idx="0"/>
            <a:endCxn id="7" idx="4"/>
          </p:cNvCxnSpPr>
          <p:nvPr/>
        </p:nvCxnSpPr>
        <p:spPr>
          <a:xfrm flipH="1" flipV="1">
            <a:off x="2809096" y="2929065"/>
            <a:ext cx="1984777" cy="29720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6846A24A-EEFC-E9E3-8190-EED090DAA08E}"/>
              </a:ext>
            </a:extLst>
          </p:cNvPr>
          <p:cNvSpPr txBox="1"/>
          <p:nvPr/>
        </p:nvSpPr>
        <p:spPr>
          <a:xfrm>
            <a:off x="3735058" y="4965269"/>
            <a:ext cx="1052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0km</a:t>
            </a:r>
          </a:p>
        </p:txBody>
      </p:sp>
    </p:spTree>
    <p:extLst>
      <p:ext uri="{BB962C8B-B14F-4D97-AF65-F5344CB8AC3E}">
        <p14:creationId xmlns:p14="http://schemas.microsoft.com/office/powerpoint/2010/main" val="368946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C6D8FB-22F9-865D-D372-33DC07456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BDC5A5-F1AF-54F4-1FED-1F3755CAC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5688343" cy="1325563"/>
          </a:xfrm>
        </p:spPr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A86E22B-31CC-C44A-FC3D-93E79EC2CF6C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32FFE4-3D00-2BBA-F8A2-C210DA9D761E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BAD58C8-50BA-811E-865E-CAB8DFA3A277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E4387140-1ED2-9780-B11D-232659E90D9E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E0DD5445-4E1E-5160-43A5-6AD0B33AB8B5}"/>
              </a:ext>
            </a:extLst>
          </p:cNvPr>
          <p:cNvCxnSpPr>
            <a:cxnSpLocks/>
            <a:endCxn id="7" idx="6"/>
          </p:cNvCxnSpPr>
          <p:nvPr/>
        </p:nvCxnSpPr>
        <p:spPr>
          <a:xfrm flipH="1" flipV="1">
            <a:off x="3229226" y="2508935"/>
            <a:ext cx="1984777" cy="22155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EDFA5B18-E074-3BA6-1677-FBB312C10EDC}"/>
              </a:ext>
            </a:extLst>
          </p:cNvPr>
          <p:cNvCxnSpPr>
            <a:cxnSpLocks/>
            <a:stCxn id="6" idx="5"/>
            <a:endCxn id="10" idx="2"/>
          </p:cNvCxnSpPr>
          <p:nvPr/>
        </p:nvCxnSpPr>
        <p:spPr>
          <a:xfrm>
            <a:off x="1050832" y="3627737"/>
            <a:ext cx="3969554" cy="13301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CF8F4E53-F15A-FD43-5BDA-6421C37E41BA}"/>
              </a:ext>
            </a:extLst>
          </p:cNvPr>
          <p:cNvCxnSpPr>
            <a:cxnSpLocks/>
            <a:stCxn id="6" idx="4"/>
            <a:endCxn id="27" idx="2"/>
          </p:cNvCxnSpPr>
          <p:nvPr/>
        </p:nvCxnSpPr>
        <p:spPr>
          <a:xfrm>
            <a:off x="753755" y="3750790"/>
            <a:ext cx="3619988" cy="2570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78705AB2-D09B-3AB5-E583-1399F0411A2B}"/>
              </a:ext>
            </a:extLst>
          </p:cNvPr>
          <p:cNvSpPr/>
          <p:nvPr/>
        </p:nvSpPr>
        <p:spPr>
          <a:xfrm>
            <a:off x="4373743" y="5901126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19585840-0188-842D-0733-167AED433106}"/>
              </a:ext>
            </a:extLst>
          </p:cNvPr>
          <p:cNvCxnSpPr>
            <a:cxnSpLocks/>
            <a:stCxn id="10" idx="4"/>
            <a:endCxn id="27" idx="7"/>
          </p:cNvCxnSpPr>
          <p:nvPr/>
        </p:nvCxnSpPr>
        <p:spPr>
          <a:xfrm flipH="1">
            <a:off x="5090950" y="5378024"/>
            <a:ext cx="349566" cy="6461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9CEC29C6-660E-256C-D457-BF3E849A5675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40A84BB9-AD54-A84F-8E43-AE91C6D6F33D}"/>
              </a:ext>
            </a:extLst>
          </p:cNvPr>
          <p:cNvSpPr txBox="1"/>
          <p:nvPr/>
        </p:nvSpPr>
        <p:spPr>
          <a:xfrm>
            <a:off x="4221614" y="311861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7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8B4B7B7F-0616-B8A7-7C33-21FB62840E24}"/>
              </a:ext>
            </a:extLst>
          </p:cNvPr>
          <p:cNvSpPr txBox="1"/>
          <p:nvPr/>
        </p:nvSpPr>
        <p:spPr>
          <a:xfrm>
            <a:off x="2692236" y="3817034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9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1CB69BD8-F519-49E9-0F39-CFAD2023AF68}"/>
              </a:ext>
            </a:extLst>
          </p:cNvPr>
          <p:cNvSpPr txBox="1"/>
          <p:nvPr/>
        </p:nvSpPr>
        <p:spPr>
          <a:xfrm>
            <a:off x="2247584" y="5308772"/>
            <a:ext cx="876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2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E008B2F5-1030-4543-AD87-24C8C918ED7A}"/>
              </a:ext>
            </a:extLst>
          </p:cNvPr>
          <p:cNvSpPr txBox="1"/>
          <p:nvPr/>
        </p:nvSpPr>
        <p:spPr>
          <a:xfrm>
            <a:off x="5325856" y="553960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361C67E-343E-6056-1CA5-E0FAB5E8F7E1}"/>
              </a:ext>
            </a:extLst>
          </p:cNvPr>
          <p:cNvSpPr txBox="1"/>
          <p:nvPr/>
        </p:nvSpPr>
        <p:spPr>
          <a:xfrm>
            <a:off x="6235468" y="257583"/>
            <a:ext cx="5805202" cy="63709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pt-BR" sz="2400" b="1" dirty="0"/>
              <a:t>Hipótese 1:  </a:t>
            </a:r>
            <a:r>
              <a:rPr lang="pt-BR" sz="2400" dirty="0"/>
              <a:t>Pareamos A com B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Se A está com B, quem sobrou? {E, </a:t>
            </a:r>
            <a:r>
              <a:rPr lang="pt-BR" sz="2400" dirty="0" err="1"/>
              <a:t>F</a:t>
            </a:r>
            <a:r>
              <a:rPr lang="pt-BR" sz="2400" dirty="0"/>
              <a:t>}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Só há uma maneira de parear os que sobraram: E com F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Isso nos dá nosso primeiro casamento perfeito completo: {(A, B), (E, </a:t>
            </a:r>
            <a:r>
              <a:rPr lang="pt-BR" sz="2400" dirty="0" err="1"/>
              <a:t>F</a:t>
            </a:r>
            <a:r>
              <a:rPr lang="pt-BR" sz="2400" dirty="0"/>
              <a:t>)}.</a:t>
            </a:r>
          </a:p>
          <a:p>
            <a:r>
              <a:rPr lang="pt-BR" sz="2400" b="1" dirty="0"/>
              <a:t>Hipótese 2: </a:t>
            </a:r>
            <a:r>
              <a:rPr lang="pt-BR" sz="2400" dirty="0"/>
              <a:t>Pareamos A com 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Se A está com E, quem sobrou? {B, </a:t>
            </a:r>
            <a:r>
              <a:rPr lang="pt-BR" sz="2400" dirty="0" err="1"/>
              <a:t>F</a:t>
            </a:r>
            <a:r>
              <a:rPr lang="pt-BR" sz="2400" dirty="0"/>
              <a:t>}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Só há uma maneira de pareá-los: B com F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Isso nos dá nosso segundo casamento perfeito: {(A, E), (B, </a:t>
            </a:r>
            <a:r>
              <a:rPr lang="pt-BR" sz="2400" dirty="0" err="1"/>
              <a:t>F</a:t>
            </a:r>
            <a:r>
              <a:rPr lang="pt-BR" sz="2400" dirty="0"/>
              <a:t>)}.</a:t>
            </a:r>
          </a:p>
          <a:p>
            <a:r>
              <a:rPr lang="pt-BR" sz="2400" b="1" dirty="0"/>
              <a:t>Hipótese 3: </a:t>
            </a:r>
            <a:r>
              <a:rPr lang="pt-BR" sz="2400" dirty="0"/>
              <a:t>Pareamos A com F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Se A está com </a:t>
            </a:r>
            <a:r>
              <a:rPr lang="pt-BR" sz="2400" dirty="0" err="1"/>
              <a:t>F</a:t>
            </a:r>
            <a:r>
              <a:rPr lang="pt-BR" sz="2400" dirty="0"/>
              <a:t>, quem sobrou? {B, E}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Só há uma maneira de pareá-los: B com 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Isso nos dá nosso terceiro casamento perfeito: {(A, </a:t>
            </a:r>
            <a:r>
              <a:rPr lang="pt-BR" sz="2400" dirty="0" err="1"/>
              <a:t>F</a:t>
            </a:r>
            <a:r>
              <a:rPr lang="pt-BR" sz="2400" dirty="0"/>
              <a:t>), (B, E)}.</a:t>
            </a:r>
          </a:p>
          <a:p>
            <a:endParaRPr lang="pt-BR" sz="2400" dirty="0"/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417E9FCB-1584-AE59-3539-AE946A03F5C7}"/>
              </a:ext>
            </a:extLst>
          </p:cNvPr>
          <p:cNvCxnSpPr>
            <a:cxnSpLocks/>
            <a:stCxn id="27" idx="0"/>
            <a:endCxn id="7" idx="4"/>
          </p:cNvCxnSpPr>
          <p:nvPr/>
        </p:nvCxnSpPr>
        <p:spPr>
          <a:xfrm flipH="1" flipV="1">
            <a:off x="2809096" y="2929065"/>
            <a:ext cx="1984777" cy="29720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24E768D6-85A6-3AB5-B26E-714E523B998E}"/>
              </a:ext>
            </a:extLst>
          </p:cNvPr>
          <p:cNvSpPr txBox="1"/>
          <p:nvPr/>
        </p:nvSpPr>
        <p:spPr>
          <a:xfrm>
            <a:off x="3735058" y="4965269"/>
            <a:ext cx="1052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0km</a:t>
            </a:r>
          </a:p>
        </p:txBody>
      </p:sp>
    </p:spTree>
    <p:extLst>
      <p:ext uri="{BB962C8B-B14F-4D97-AF65-F5344CB8AC3E}">
        <p14:creationId xmlns:p14="http://schemas.microsoft.com/office/powerpoint/2010/main" val="3291236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16727-9876-4821-5F34-814FFE2EB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8F4BFA-6FB0-119F-7960-02A97CEAA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43" y="576690"/>
            <a:ext cx="5688343" cy="1325563"/>
          </a:xfrm>
        </p:spPr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B69339D-9BD4-B901-B8C0-2F5CAD028F23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78DCD1E-5718-A4DC-C8CE-92FFF57C55A7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A6CEFE9-D8F8-9D60-48DF-838DD8E08B60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1E1B2628-4CE7-8F0C-9F7C-5E0F66540789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F287FC68-4EAF-D966-1AEE-4ACD241F7EAF}"/>
              </a:ext>
            </a:extLst>
          </p:cNvPr>
          <p:cNvCxnSpPr>
            <a:cxnSpLocks/>
            <a:endCxn id="7" idx="6"/>
          </p:cNvCxnSpPr>
          <p:nvPr/>
        </p:nvCxnSpPr>
        <p:spPr>
          <a:xfrm flipH="1" flipV="1">
            <a:off x="3229226" y="2508935"/>
            <a:ext cx="1984777" cy="22155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72B3016C-7141-4E72-61C3-DD90D4AC2028}"/>
              </a:ext>
            </a:extLst>
          </p:cNvPr>
          <p:cNvCxnSpPr>
            <a:cxnSpLocks/>
            <a:stCxn id="6" idx="5"/>
            <a:endCxn id="10" idx="2"/>
          </p:cNvCxnSpPr>
          <p:nvPr/>
        </p:nvCxnSpPr>
        <p:spPr>
          <a:xfrm>
            <a:off x="1050832" y="3627737"/>
            <a:ext cx="3969554" cy="13301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B304F7D0-BC62-45B4-B32A-DAA5A5E2C5E6}"/>
              </a:ext>
            </a:extLst>
          </p:cNvPr>
          <p:cNvCxnSpPr>
            <a:cxnSpLocks/>
            <a:stCxn id="6" idx="4"/>
            <a:endCxn id="27" idx="2"/>
          </p:cNvCxnSpPr>
          <p:nvPr/>
        </p:nvCxnSpPr>
        <p:spPr>
          <a:xfrm>
            <a:off x="753755" y="3750790"/>
            <a:ext cx="3619988" cy="2570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727E68B1-CE1A-6A2E-6330-E32E3B782768}"/>
              </a:ext>
            </a:extLst>
          </p:cNvPr>
          <p:cNvSpPr/>
          <p:nvPr/>
        </p:nvSpPr>
        <p:spPr>
          <a:xfrm>
            <a:off x="4373743" y="5901126"/>
            <a:ext cx="840260" cy="84026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48404FA5-0FEA-97D6-DF97-FFD12CEC177C}"/>
              </a:ext>
            </a:extLst>
          </p:cNvPr>
          <p:cNvCxnSpPr>
            <a:cxnSpLocks/>
            <a:stCxn id="10" idx="4"/>
            <a:endCxn id="27" idx="7"/>
          </p:cNvCxnSpPr>
          <p:nvPr/>
        </p:nvCxnSpPr>
        <p:spPr>
          <a:xfrm flipH="1">
            <a:off x="5090950" y="5378024"/>
            <a:ext cx="349566" cy="6461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E49DBF99-237D-4F8C-2FCA-425C52434064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773C654B-D6D5-930D-DEBE-66C87967E9E4}"/>
              </a:ext>
            </a:extLst>
          </p:cNvPr>
          <p:cNvSpPr txBox="1"/>
          <p:nvPr/>
        </p:nvSpPr>
        <p:spPr>
          <a:xfrm>
            <a:off x="4221614" y="311861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7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642A4C4-A2E3-CBD0-A693-041FC7AB0406}"/>
              </a:ext>
            </a:extLst>
          </p:cNvPr>
          <p:cNvSpPr txBox="1"/>
          <p:nvPr/>
        </p:nvSpPr>
        <p:spPr>
          <a:xfrm>
            <a:off x="2692236" y="3817034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9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12707FB8-7149-9405-B689-FA7A69A4808B}"/>
              </a:ext>
            </a:extLst>
          </p:cNvPr>
          <p:cNvSpPr txBox="1"/>
          <p:nvPr/>
        </p:nvSpPr>
        <p:spPr>
          <a:xfrm>
            <a:off x="2247584" y="5308772"/>
            <a:ext cx="876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2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99CE0CAB-CA82-42E1-1046-B707DF13371A}"/>
              </a:ext>
            </a:extLst>
          </p:cNvPr>
          <p:cNvSpPr txBox="1"/>
          <p:nvPr/>
        </p:nvSpPr>
        <p:spPr>
          <a:xfrm>
            <a:off x="5325856" y="5539605"/>
            <a:ext cx="724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505E517-0673-3285-91CA-68FCE50F1B12}"/>
              </a:ext>
            </a:extLst>
          </p:cNvPr>
          <p:cNvSpPr txBox="1"/>
          <p:nvPr/>
        </p:nvSpPr>
        <p:spPr>
          <a:xfrm>
            <a:off x="6206391" y="576690"/>
            <a:ext cx="5805202" cy="55092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pt-BR" sz="2200" b="1" dirty="0"/>
              <a:t>Estratégia 1: Parear (A com B) e (E com </a:t>
            </a:r>
            <a:r>
              <a:rPr lang="pt-BR" sz="2200" b="1" dirty="0" err="1"/>
              <a:t>F</a:t>
            </a:r>
            <a:r>
              <a:rPr lang="pt-BR" sz="2200" b="1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A-B = </a:t>
            </a:r>
            <a:r>
              <a:rPr lang="pt-BR" sz="2200" dirty="0" err="1"/>
              <a:t>Dist</a:t>
            </a:r>
            <a:r>
              <a:rPr lang="pt-BR" sz="2200" dirty="0"/>
              <a:t>(A, B) = 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E-F = </a:t>
            </a:r>
            <a:r>
              <a:rPr lang="pt-BR" sz="2200" dirty="0" err="1"/>
              <a:t>Dist</a:t>
            </a:r>
            <a:r>
              <a:rPr lang="pt-BR" sz="2200" dirty="0"/>
              <a:t>(E, </a:t>
            </a:r>
            <a:r>
              <a:rPr lang="pt-BR" sz="2200" dirty="0" err="1"/>
              <a:t>F</a:t>
            </a:r>
            <a:r>
              <a:rPr lang="pt-BR" sz="2200" dirty="0"/>
              <a:t>) = 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b="1" dirty="0"/>
              <a:t>Custo Total da Estratégia = 2 + 3 = 5</a:t>
            </a:r>
            <a:endParaRPr lang="pt-BR" sz="2200" dirty="0"/>
          </a:p>
          <a:p>
            <a:endParaRPr lang="pt-BR" sz="2200" b="1" dirty="0"/>
          </a:p>
          <a:p>
            <a:r>
              <a:rPr lang="pt-BR" sz="2200" b="1" dirty="0"/>
              <a:t>Estratégia 2: Parear (A com E) e (B com </a:t>
            </a:r>
            <a:r>
              <a:rPr lang="pt-BR" sz="2200" b="1" dirty="0" err="1"/>
              <a:t>F</a:t>
            </a:r>
            <a:r>
              <a:rPr lang="pt-BR" sz="2200" b="1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A-E = </a:t>
            </a:r>
            <a:r>
              <a:rPr lang="pt-BR" sz="2200" dirty="0" err="1"/>
              <a:t>Dist</a:t>
            </a:r>
            <a:r>
              <a:rPr lang="pt-BR" sz="2200" dirty="0"/>
              <a:t>(A, E) = 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B-F = </a:t>
            </a:r>
            <a:r>
              <a:rPr lang="pt-BR" sz="2200" dirty="0" err="1"/>
              <a:t>Dist</a:t>
            </a:r>
            <a:r>
              <a:rPr lang="pt-BR" sz="2200" dirty="0"/>
              <a:t>(B, </a:t>
            </a:r>
            <a:r>
              <a:rPr lang="pt-BR" sz="2200" dirty="0" err="1"/>
              <a:t>F</a:t>
            </a:r>
            <a:r>
              <a:rPr lang="pt-BR" sz="2200" dirty="0"/>
              <a:t>) = 1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b="1" dirty="0"/>
              <a:t>Custo Total da Estratégia = 9 + 10 = 19</a:t>
            </a:r>
          </a:p>
          <a:p>
            <a:endParaRPr lang="pt-BR" sz="2200" b="1" dirty="0"/>
          </a:p>
          <a:p>
            <a:r>
              <a:rPr lang="pt-BR" sz="2200" b="1" dirty="0"/>
              <a:t>Estratégia 3: Parear (A com </a:t>
            </a:r>
            <a:r>
              <a:rPr lang="pt-BR" sz="2200" b="1" dirty="0" err="1"/>
              <a:t>F</a:t>
            </a:r>
            <a:r>
              <a:rPr lang="pt-BR" sz="2200" b="1" dirty="0"/>
              <a:t>) e (B com 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A-F = </a:t>
            </a:r>
            <a:r>
              <a:rPr lang="pt-BR" sz="2200" dirty="0" err="1"/>
              <a:t>Dist</a:t>
            </a:r>
            <a:r>
              <a:rPr lang="pt-BR" sz="2200" dirty="0"/>
              <a:t>(A, </a:t>
            </a:r>
            <a:r>
              <a:rPr lang="pt-BR" sz="2200" dirty="0" err="1"/>
              <a:t>F</a:t>
            </a:r>
            <a:r>
              <a:rPr lang="pt-BR" sz="2200" dirty="0"/>
              <a:t>) = 1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B-E = </a:t>
            </a:r>
            <a:r>
              <a:rPr lang="pt-BR" sz="2200" dirty="0" err="1"/>
              <a:t>Dist</a:t>
            </a:r>
            <a:r>
              <a:rPr lang="pt-BR" sz="2200" dirty="0"/>
              <a:t>(B, E) = 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b="1" dirty="0"/>
              <a:t>Custo Total da Estratégia = 12 + 7 = 19</a:t>
            </a: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4CEBCA9D-F3C1-88BF-6343-096BF463DE93}"/>
              </a:ext>
            </a:extLst>
          </p:cNvPr>
          <p:cNvCxnSpPr>
            <a:cxnSpLocks/>
            <a:stCxn id="27" idx="0"/>
            <a:endCxn id="7" idx="4"/>
          </p:cNvCxnSpPr>
          <p:nvPr/>
        </p:nvCxnSpPr>
        <p:spPr>
          <a:xfrm flipH="1" flipV="1">
            <a:off x="2809096" y="2929065"/>
            <a:ext cx="1984777" cy="29720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B6732478-DE1D-AF61-72B1-58AD9F5B3B2A}"/>
              </a:ext>
            </a:extLst>
          </p:cNvPr>
          <p:cNvSpPr txBox="1"/>
          <p:nvPr/>
        </p:nvSpPr>
        <p:spPr>
          <a:xfrm>
            <a:off x="3735058" y="4965269"/>
            <a:ext cx="1052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10km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DA143FA-E5C5-F7D2-4F5E-48DB8A7EB89C}"/>
              </a:ext>
            </a:extLst>
          </p:cNvPr>
          <p:cNvSpPr/>
          <p:nvPr/>
        </p:nvSpPr>
        <p:spPr>
          <a:xfrm>
            <a:off x="6206391" y="2088805"/>
            <a:ext cx="5805202" cy="40156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559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  <p:bldP spid="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592EC9-E678-02B2-749F-89A1F8478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A27C219-9B8E-DDC2-46F3-2847160C3E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>
              <a:buNone/>
            </a:pP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asso 8: "Soma o custo desse casamento ao peso total original..."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Pegamos o custo da nossa linha de base (Passo 2) e adicionamos o custo mínimo que encontramos para consertar todos os problemas (Passo 7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dirty="0"/>
              <a:t>Custo Final = Custo Original + Custo do Casamento Mínimo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</a:t>
            </a:r>
            <a:r>
              <a:rPr lang="pt-BR" dirty="0"/>
              <a:t>Custo Final = 23 + 5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</a:t>
            </a:r>
            <a:r>
              <a:rPr lang="pt-BR" b="1" dirty="0"/>
              <a:t>Custo Final = 28 km</a:t>
            </a:r>
          </a:p>
        </p:txBody>
      </p:sp>
    </p:spTree>
    <p:extLst>
      <p:ext uri="{BB962C8B-B14F-4D97-AF65-F5344CB8AC3E}">
        <p14:creationId xmlns:p14="http://schemas.microsoft.com/office/powerpoint/2010/main" val="1133391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FF6379-9DA4-FC45-F20D-E5B8D9412C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104CB57A-4856-A27A-9008-B1EDAC31AFB1}"/>
              </a:ext>
            </a:extLst>
          </p:cNvPr>
          <p:cNvCxnSpPr>
            <a:stCxn id="6" idx="7"/>
            <a:endCxn id="7" idx="2"/>
          </p:cNvCxnSpPr>
          <p:nvPr/>
        </p:nvCxnSpPr>
        <p:spPr>
          <a:xfrm flipV="1">
            <a:off x="1050832" y="2508935"/>
            <a:ext cx="1338134" cy="524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ângulo 21">
            <a:extLst>
              <a:ext uri="{FF2B5EF4-FFF2-40B4-BE49-F238E27FC236}">
                <a16:creationId xmlns:a16="http://schemas.microsoft.com/office/drawing/2014/main" id="{4A0A5B43-FC7D-04CB-4AFE-C360B92932F5}"/>
              </a:ext>
            </a:extLst>
          </p:cNvPr>
          <p:cNvSpPr/>
          <p:nvPr/>
        </p:nvSpPr>
        <p:spPr>
          <a:xfrm rot="20323141" flipV="1">
            <a:off x="960921" y="2669832"/>
            <a:ext cx="1544466" cy="174118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953079A8-AA6F-74CD-EA4E-4DC49FC7959F}"/>
              </a:ext>
            </a:extLst>
          </p:cNvPr>
          <p:cNvCxnSpPr>
            <a:cxnSpLocks/>
            <a:stCxn id="8" idx="2"/>
            <a:endCxn id="7" idx="6"/>
          </p:cNvCxnSpPr>
          <p:nvPr/>
        </p:nvCxnSpPr>
        <p:spPr>
          <a:xfrm flipH="1">
            <a:off x="3229226" y="2457277"/>
            <a:ext cx="1791160" cy="516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C8CECEDA-42E5-6A77-5E1F-BA6FFF9472E4}"/>
              </a:ext>
            </a:extLst>
          </p:cNvPr>
          <p:cNvCxnSpPr>
            <a:cxnSpLocks/>
            <a:stCxn id="9" idx="0"/>
            <a:endCxn id="7" idx="4"/>
          </p:cNvCxnSpPr>
          <p:nvPr/>
        </p:nvCxnSpPr>
        <p:spPr>
          <a:xfrm flipV="1">
            <a:off x="1664039" y="2929065"/>
            <a:ext cx="1145057" cy="2652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900F7764-4C25-6BD9-1EEF-E7971CA72C7E}"/>
              </a:ext>
            </a:extLst>
          </p:cNvPr>
          <p:cNvCxnSpPr>
            <a:cxnSpLocks/>
            <a:stCxn id="9" idx="6"/>
            <a:endCxn id="10" idx="2"/>
          </p:cNvCxnSpPr>
          <p:nvPr/>
        </p:nvCxnSpPr>
        <p:spPr>
          <a:xfrm flipV="1">
            <a:off x="2084169" y="4957894"/>
            <a:ext cx="2936217" cy="10433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9E7F9CFF-D6A7-7837-4E4B-849E3E464E60}"/>
              </a:ext>
            </a:extLst>
          </p:cNvPr>
          <p:cNvCxnSpPr>
            <a:cxnSpLocks/>
            <a:stCxn id="10" idx="7"/>
            <a:endCxn id="27" idx="3"/>
          </p:cNvCxnSpPr>
          <p:nvPr/>
        </p:nvCxnSpPr>
        <p:spPr>
          <a:xfrm flipV="1">
            <a:off x="5737593" y="4113510"/>
            <a:ext cx="1515922" cy="547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ângulo 36">
            <a:extLst>
              <a:ext uri="{FF2B5EF4-FFF2-40B4-BE49-F238E27FC236}">
                <a16:creationId xmlns:a16="http://schemas.microsoft.com/office/drawing/2014/main" id="{6D40C780-1E5A-F65F-967E-142BE8623027}"/>
              </a:ext>
            </a:extLst>
          </p:cNvPr>
          <p:cNvSpPr/>
          <p:nvPr/>
        </p:nvSpPr>
        <p:spPr>
          <a:xfrm rot="20219523" flipV="1">
            <a:off x="856557" y="2845998"/>
            <a:ext cx="2111549" cy="20384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82BCC415-581F-EA0E-B7DF-9ECE9FBE6D1D}"/>
              </a:ext>
            </a:extLst>
          </p:cNvPr>
          <p:cNvSpPr/>
          <p:nvPr/>
        </p:nvSpPr>
        <p:spPr>
          <a:xfrm flipV="1">
            <a:off x="3149879" y="2376103"/>
            <a:ext cx="2111549" cy="20384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232F55D5-27AB-B356-E966-D5C45D7EAA0F}"/>
              </a:ext>
            </a:extLst>
          </p:cNvPr>
          <p:cNvSpPr/>
          <p:nvPr/>
        </p:nvSpPr>
        <p:spPr>
          <a:xfrm rot="16200000" flipV="1">
            <a:off x="4368571" y="3569363"/>
            <a:ext cx="2111549" cy="20384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A2514499-930A-05D6-1A96-C706DECD985D}"/>
              </a:ext>
            </a:extLst>
          </p:cNvPr>
          <p:cNvSpPr/>
          <p:nvPr/>
        </p:nvSpPr>
        <p:spPr>
          <a:xfrm rot="20219523" flipV="1">
            <a:off x="5447262" y="4118663"/>
            <a:ext cx="2111549" cy="20384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83AF615A-C629-181E-F5D7-CB3AA08CF0CD}"/>
              </a:ext>
            </a:extLst>
          </p:cNvPr>
          <p:cNvSpPr/>
          <p:nvPr/>
        </p:nvSpPr>
        <p:spPr>
          <a:xfrm rot="20219523" flipV="1">
            <a:off x="5615552" y="4374356"/>
            <a:ext cx="2111549" cy="20384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E51526B3-D5C5-354F-0C59-0D7D20D5CD28}"/>
              </a:ext>
            </a:extLst>
          </p:cNvPr>
          <p:cNvSpPr/>
          <p:nvPr/>
        </p:nvSpPr>
        <p:spPr>
          <a:xfrm rot="20646048" flipV="1">
            <a:off x="1932729" y="5357439"/>
            <a:ext cx="3333004" cy="216266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A9CEEE71-3478-02CF-C8C6-4445B40DC33A}"/>
              </a:ext>
            </a:extLst>
          </p:cNvPr>
          <p:cNvSpPr/>
          <p:nvPr/>
        </p:nvSpPr>
        <p:spPr>
          <a:xfrm rot="17436851" flipV="1">
            <a:off x="542780" y="4100416"/>
            <a:ext cx="3454632" cy="24585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A7FFAA2-9405-8574-6E44-BFF835659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65101A2-EE51-EBB5-C69A-72B8ED360934}"/>
              </a:ext>
            </a:extLst>
          </p:cNvPr>
          <p:cNvSpPr/>
          <p:nvPr/>
        </p:nvSpPr>
        <p:spPr>
          <a:xfrm>
            <a:off x="333625" y="291053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</a:t>
            </a:r>
            <a:endParaRPr lang="pt-BR" b="1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24729A4-5BC9-0526-E722-2C8587F3D93F}"/>
              </a:ext>
            </a:extLst>
          </p:cNvPr>
          <p:cNvSpPr/>
          <p:nvPr/>
        </p:nvSpPr>
        <p:spPr>
          <a:xfrm>
            <a:off x="2388966" y="2088805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B</a:t>
            </a:r>
            <a:endParaRPr lang="pt-BR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4875A99-6AE5-05E7-9CAE-84AC51F83EBB}"/>
              </a:ext>
            </a:extLst>
          </p:cNvPr>
          <p:cNvSpPr/>
          <p:nvPr/>
        </p:nvSpPr>
        <p:spPr>
          <a:xfrm>
            <a:off x="5020386" y="2037147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C</a:t>
            </a:r>
            <a:endParaRPr lang="pt-BR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C379623-F4C9-97B5-E6E5-EB11023CF7DF}"/>
              </a:ext>
            </a:extLst>
          </p:cNvPr>
          <p:cNvSpPr/>
          <p:nvPr/>
        </p:nvSpPr>
        <p:spPr>
          <a:xfrm>
            <a:off x="1243909" y="5581140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</a:t>
            </a:r>
            <a:endParaRPr lang="pt-BR" b="1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17C6410-2DDE-F881-4575-D550B57D7631}"/>
              </a:ext>
            </a:extLst>
          </p:cNvPr>
          <p:cNvSpPr/>
          <p:nvPr/>
        </p:nvSpPr>
        <p:spPr>
          <a:xfrm>
            <a:off x="5020386" y="4537764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E</a:t>
            </a:r>
            <a:endParaRPr lang="pt-BR" b="1" dirty="0"/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396CC6E2-9E3D-5386-CF2C-BA5665B248EC}"/>
              </a:ext>
            </a:extLst>
          </p:cNvPr>
          <p:cNvCxnSpPr>
            <a:cxnSpLocks/>
            <a:stCxn id="10" idx="0"/>
            <a:endCxn id="8" idx="4"/>
          </p:cNvCxnSpPr>
          <p:nvPr/>
        </p:nvCxnSpPr>
        <p:spPr>
          <a:xfrm flipV="1">
            <a:off x="5440516" y="2877407"/>
            <a:ext cx="0" cy="166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393D82D8-ACEA-D2B2-15C5-07845CB79E4C}"/>
              </a:ext>
            </a:extLst>
          </p:cNvPr>
          <p:cNvSpPr/>
          <p:nvPr/>
        </p:nvSpPr>
        <p:spPr>
          <a:xfrm>
            <a:off x="7130462" y="3396303"/>
            <a:ext cx="840260" cy="84026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F</a:t>
            </a:r>
            <a:endParaRPr lang="pt-BR" b="1" dirty="0"/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6A5C95B9-D46D-D759-3EF4-9BDF7127138B}"/>
              </a:ext>
            </a:extLst>
          </p:cNvPr>
          <p:cNvSpPr txBox="1"/>
          <p:nvPr/>
        </p:nvSpPr>
        <p:spPr>
          <a:xfrm>
            <a:off x="1173885" y="2253990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2km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ECF6917B-C108-4390-81B5-856390CBFBD3}"/>
              </a:ext>
            </a:extLst>
          </p:cNvPr>
          <p:cNvSpPr txBox="1"/>
          <p:nvPr/>
        </p:nvSpPr>
        <p:spPr>
          <a:xfrm>
            <a:off x="4182497" y="2415742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936B7EC5-5921-10EB-1F94-A39C408160DD}"/>
              </a:ext>
            </a:extLst>
          </p:cNvPr>
          <p:cNvSpPr txBox="1"/>
          <p:nvPr/>
        </p:nvSpPr>
        <p:spPr>
          <a:xfrm>
            <a:off x="2388966" y="395973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6km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49E4F146-61C6-5A59-F262-7D792467D0AC}"/>
              </a:ext>
            </a:extLst>
          </p:cNvPr>
          <p:cNvSpPr txBox="1"/>
          <p:nvPr/>
        </p:nvSpPr>
        <p:spPr>
          <a:xfrm>
            <a:off x="5556805" y="3069210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4km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ED3AC666-9205-5C98-B61F-D719FAFB32AB}"/>
              </a:ext>
            </a:extLst>
          </p:cNvPr>
          <p:cNvSpPr txBox="1"/>
          <p:nvPr/>
        </p:nvSpPr>
        <p:spPr>
          <a:xfrm>
            <a:off x="3555241" y="5480658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5km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47772040-187A-A593-5B49-F05E70223647}"/>
              </a:ext>
            </a:extLst>
          </p:cNvPr>
          <p:cNvSpPr txBox="1"/>
          <p:nvPr/>
        </p:nvSpPr>
        <p:spPr>
          <a:xfrm>
            <a:off x="6343179" y="4496229"/>
            <a:ext cx="72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/>
              <a:t>3km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C7C3FD3-33FD-BB6D-7E9C-41911387A2CA}"/>
              </a:ext>
            </a:extLst>
          </p:cNvPr>
          <p:cNvSpPr txBox="1"/>
          <p:nvPr/>
        </p:nvSpPr>
        <p:spPr>
          <a:xfrm>
            <a:off x="6096000" y="5340613"/>
            <a:ext cx="5805202" cy="14465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pt-BR" sz="2200" b="1" dirty="0"/>
              <a:t>Estratégia 1: Parear (A com B) e (E com </a:t>
            </a:r>
            <a:r>
              <a:rPr lang="pt-BR" sz="2200" b="1" dirty="0" err="1"/>
              <a:t>F</a:t>
            </a:r>
            <a:r>
              <a:rPr lang="pt-BR" sz="2200" b="1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A-B = </a:t>
            </a:r>
            <a:r>
              <a:rPr lang="pt-BR" sz="2200" dirty="0" err="1"/>
              <a:t>Dist</a:t>
            </a:r>
            <a:r>
              <a:rPr lang="pt-BR" sz="2200" dirty="0"/>
              <a:t>(A, B) = 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dirty="0"/>
              <a:t>Custo de repetir o caminho E-F = </a:t>
            </a:r>
            <a:r>
              <a:rPr lang="pt-BR" sz="2200" dirty="0" err="1"/>
              <a:t>Dist</a:t>
            </a:r>
            <a:r>
              <a:rPr lang="pt-BR" sz="2200" dirty="0"/>
              <a:t>(E, </a:t>
            </a:r>
            <a:r>
              <a:rPr lang="pt-BR" sz="2200" dirty="0" err="1"/>
              <a:t>F</a:t>
            </a:r>
            <a:r>
              <a:rPr lang="pt-BR" sz="2200" dirty="0"/>
              <a:t>) = 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200" b="1" dirty="0"/>
              <a:t>Custo Total da Estratégia = 2 + 3 = 5</a:t>
            </a:r>
            <a:endParaRPr lang="pt-BR" sz="2200" dirty="0"/>
          </a:p>
        </p:txBody>
      </p:sp>
    </p:spTree>
    <p:extLst>
      <p:ext uri="{BB962C8B-B14F-4D97-AF65-F5344CB8AC3E}">
        <p14:creationId xmlns:p14="http://schemas.microsoft.com/office/powerpoint/2010/main" val="1263626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37" grpId="0" animBg="1"/>
      <p:bldP spid="36" grpId="0" animBg="1"/>
      <p:bldP spid="35" grpId="0" animBg="1"/>
      <p:bldP spid="31" grpId="0" animBg="1"/>
      <p:bldP spid="30" grpId="0" animBg="1"/>
      <p:bldP spid="28" grpId="0" animBg="1"/>
      <p:bldP spid="26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F4D0355-00E2-A821-EE7A-EF2943B9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ividade – Luz no Cerrad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58747A8-A96A-8182-0B47-BA6B081E5C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Você trabalha na "Luz do Cerrado", a empresa responsável pela manutenção da iluminação pública no bairro de Novo Gama. Sua tarefa hoje é inspecionar todas as ruas do setor planejado para garantir que todos os postes de luz estão funcionando.</a:t>
            </a: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Você deve começar sua rota no depósito, localizado no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onto A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, percorrer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todas as ruas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do mapa e retornar ao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onto A 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no final. </a:t>
            </a: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Como a gasolina e o tempo são valiosos, seu objetivo é encontrar a rota de menor distância total possível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39939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183E6-B64B-A1D9-3935-37B0DFD5A1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8F8C6B-D728-33C4-AD0A-B4FB2AC5B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ividade – Luz no Cerrad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4964CF9-AC9B-9325-DAC6-7B33E3FEDF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2943" y="1618410"/>
            <a:ext cx="10515600" cy="4190617"/>
          </a:xfrm>
        </p:spPr>
        <p:txBody>
          <a:bodyPr/>
          <a:lstStyle/>
          <a:p>
            <a:r>
              <a:rPr lang="pt-BR" dirty="0"/>
              <a:t>O mapa do bairro é representado pelo grafo abaixo, onde os pontos A, B, C, </a:t>
            </a:r>
            <a:r>
              <a:rPr lang="pt-BR" dirty="0" err="1"/>
              <a:t>D</a:t>
            </a:r>
            <a:r>
              <a:rPr lang="pt-BR" dirty="0"/>
              <a:t>, E e </a:t>
            </a:r>
            <a:r>
              <a:rPr lang="pt-BR" dirty="0" err="1"/>
              <a:t>F</a:t>
            </a:r>
            <a:r>
              <a:rPr lang="pt-BR" dirty="0"/>
              <a:t> são cruzamentos importantes. As distâncias entre os cruzamentos estão em metros.</a:t>
            </a:r>
          </a:p>
          <a:p>
            <a:r>
              <a:rPr lang="pt-BR" dirty="0"/>
              <a:t>Siga os passos apresentados na aula para encontrar a solução ótima para o Problema do Carteiro Chinês.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0AA8E310-7BAB-AC43-909E-60BFCB59BBA5}"/>
              </a:ext>
            </a:extLst>
          </p:cNvPr>
          <p:cNvGrpSpPr/>
          <p:nvPr/>
        </p:nvGrpSpPr>
        <p:grpSpPr>
          <a:xfrm>
            <a:off x="1655797" y="3429000"/>
            <a:ext cx="8659060" cy="3353420"/>
            <a:chOff x="1655797" y="3429000"/>
            <a:chExt cx="8659060" cy="335342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4CC85345-2628-9693-C5A2-4813F28C4263}"/>
                </a:ext>
              </a:extLst>
            </p:cNvPr>
            <p:cNvSpPr/>
            <p:nvPr/>
          </p:nvSpPr>
          <p:spPr>
            <a:xfrm>
              <a:off x="1655797" y="3964513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A</a:t>
              </a:r>
              <a:endParaRPr lang="pt-BR" b="1" dirty="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9406BE19-24D2-2007-24BB-94B4BD0B728B}"/>
                </a:ext>
              </a:extLst>
            </p:cNvPr>
            <p:cNvSpPr/>
            <p:nvPr/>
          </p:nvSpPr>
          <p:spPr>
            <a:xfrm>
              <a:off x="4131268" y="3884194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B</a:t>
              </a:r>
              <a:endParaRPr lang="pt-BR" b="1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3A4C65B-3056-CC96-93E0-4EA781EE504E}"/>
                </a:ext>
              </a:extLst>
            </p:cNvPr>
            <p:cNvSpPr/>
            <p:nvPr/>
          </p:nvSpPr>
          <p:spPr>
            <a:xfrm>
              <a:off x="4168923" y="5576789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C</a:t>
              </a:r>
              <a:endParaRPr lang="pt-BR" b="1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08D3735-5559-C264-2F8C-0A0865A86DA3}"/>
                </a:ext>
              </a:extLst>
            </p:cNvPr>
            <p:cNvSpPr/>
            <p:nvPr/>
          </p:nvSpPr>
          <p:spPr>
            <a:xfrm>
              <a:off x="6983751" y="342900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D</a:t>
              </a:r>
              <a:endParaRPr lang="pt-BR" b="1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AB97B7D-828C-FEE5-0001-6295112A1E7A}"/>
                </a:ext>
              </a:extLst>
            </p:cNvPr>
            <p:cNvSpPr/>
            <p:nvPr/>
          </p:nvSpPr>
          <p:spPr>
            <a:xfrm>
              <a:off x="8078399" y="594216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E</a:t>
              </a:r>
              <a:endParaRPr lang="pt-BR" b="1" dirty="0"/>
            </a:p>
          </p:txBody>
        </p:sp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D034F665-73D8-7144-A45B-7CC2869CDCDE}"/>
                </a:ext>
              </a:extLst>
            </p:cNvPr>
            <p:cNvCxnSpPr>
              <a:cxnSpLocks/>
              <a:stCxn id="4" idx="6"/>
              <a:endCxn id="5" idx="2"/>
            </p:cNvCxnSpPr>
            <p:nvPr/>
          </p:nvCxnSpPr>
          <p:spPr>
            <a:xfrm flipV="1">
              <a:off x="2496057" y="4304324"/>
              <a:ext cx="1635211" cy="8031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to 9">
              <a:extLst>
                <a:ext uri="{FF2B5EF4-FFF2-40B4-BE49-F238E27FC236}">
                  <a16:creationId xmlns:a16="http://schemas.microsoft.com/office/drawing/2014/main" id="{AC2088F2-3EB6-7057-3FB0-A34287CD79C7}"/>
                </a:ext>
              </a:extLst>
            </p:cNvPr>
            <p:cNvCxnSpPr>
              <a:cxnSpLocks/>
              <a:stCxn id="6" idx="2"/>
              <a:endCxn id="4" idx="5"/>
            </p:cNvCxnSpPr>
            <p:nvPr/>
          </p:nvCxnSpPr>
          <p:spPr>
            <a:xfrm flipH="1" flipV="1">
              <a:off x="2373004" y="4681720"/>
              <a:ext cx="1795919" cy="131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F4297E51-5299-078B-6C01-3F9ED73DFEEE}"/>
                </a:ext>
              </a:extLst>
            </p:cNvPr>
            <p:cNvCxnSpPr>
              <a:cxnSpLocks/>
              <a:stCxn id="6" idx="0"/>
              <a:endCxn id="5" idx="4"/>
            </p:cNvCxnSpPr>
            <p:nvPr/>
          </p:nvCxnSpPr>
          <p:spPr>
            <a:xfrm flipH="1" flipV="1">
              <a:off x="4551398" y="4724454"/>
              <a:ext cx="37655" cy="8523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7BBD0B01-0F72-3463-B3E6-51F4C7EC2B6E}"/>
                </a:ext>
              </a:extLst>
            </p:cNvPr>
            <p:cNvCxnSpPr>
              <a:cxnSpLocks/>
              <a:stCxn id="7" idx="2"/>
              <a:endCxn id="5" idx="6"/>
            </p:cNvCxnSpPr>
            <p:nvPr/>
          </p:nvCxnSpPr>
          <p:spPr>
            <a:xfrm flipH="1">
              <a:off x="4971528" y="3849130"/>
              <a:ext cx="2012223" cy="4551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21234CFE-2CC2-4281-5524-B6DB4EA5FB99}"/>
                </a:ext>
              </a:extLst>
            </p:cNvPr>
            <p:cNvCxnSpPr>
              <a:cxnSpLocks/>
              <a:stCxn id="6" idx="5"/>
              <a:endCxn id="8" idx="2"/>
            </p:cNvCxnSpPr>
            <p:nvPr/>
          </p:nvCxnSpPr>
          <p:spPr>
            <a:xfrm>
              <a:off x="4886130" y="6293996"/>
              <a:ext cx="3192269" cy="682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DB20475-C004-66CB-25E3-CD0A2F670B79}"/>
                </a:ext>
              </a:extLst>
            </p:cNvPr>
            <p:cNvSpPr/>
            <p:nvPr/>
          </p:nvSpPr>
          <p:spPr>
            <a:xfrm>
              <a:off x="9121014" y="415381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F</a:t>
              </a:r>
              <a:endParaRPr lang="pt-BR" b="1" dirty="0"/>
            </a:p>
          </p:txBody>
        </p:sp>
        <p:cxnSp>
          <p:nvCxnSpPr>
            <p:cNvPr id="15" name="Conector Reto 14">
              <a:extLst>
                <a:ext uri="{FF2B5EF4-FFF2-40B4-BE49-F238E27FC236}">
                  <a16:creationId xmlns:a16="http://schemas.microsoft.com/office/drawing/2014/main" id="{41D92352-A4F0-5BB4-2287-D18B2D77E128}"/>
                </a:ext>
              </a:extLst>
            </p:cNvPr>
            <p:cNvCxnSpPr>
              <a:cxnSpLocks/>
              <a:stCxn id="8" idx="0"/>
            </p:cNvCxnSpPr>
            <p:nvPr/>
          </p:nvCxnSpPr>
          <p:spPr>
            <a:xfrm flipH="1" flipV="1">
              <a:off x="7627747" y="4269260"/>
              <a:ext cx="870782" cy="16729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B738DE32-9C96-9BF5-5E52-07C131878D55}"/>
                </a:ext>
              </a:extLst>
            </p:cNvPr>
            <p:cNvSpPr txBox="1"/>
            <p:nvPr/>
          </p:nvSpPr>
          <p:spPr>
            <a:xfrm>
              <a:off x="2929158" y="3922978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C550C6FE-5EE5-AB27-DDDC-57917927563B}"/>
                </a:ext>
              </a:extLst>
            </p:cNvPr>
            <p:cNvSpPr txBox="1"/>
            <p:nvPr/>
          </p:nvSpPr>
          <p:spPr>
            <a:xfrm>
              <a:off x="4716638" y="4877654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80m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91FC39E9-35E5-D82C-2DE7-D73E17DDDC7F}"/>
                </a:ext>
              </a:extLst>
            </p:cNvPr>
            <p:cNvSpPr txBox="1"/>
            <p:nvPr/>
          </p:nvSpPr>
          <p:spPr>
            <a:xfrm>
              <a:off x="2920719" y="528947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20m</a:t>
              </a: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60E49174-8777-F398-DAA5-ED933566FC04}"/>
                </a:ext>
              </a:extLst>
            </p:cNvPr>
            <p:cNvSpPr txBox="1"/>
            <p:nvPr/>
          </p:nvSpPr>
          <p:spPr>
            <a:xfrm>
              <a:off x="6351858" y="5875585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00m</a:t>
              </a:r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7CAA0CB0-568B-7717-29A8-953FC5026418}"/>
                </a:ext>
              </a:extLst>
            </p:cNvPr>
            <p:cNvSpPr txBox="1"/>
            <p:nvPr/>
          </p:nvSpPr>
          <p:spPr>
            <a:xfrm>
              <a:off x="7051132" y="499310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915463E1-B340-A141-EAF1-A2E3729DA6BC}"/>
                </a:ext>
              </a:extLst>
            </p:cNvPr>
            <p:cNvSpPr txBox="1"/>
            <p:nvPr/>
          </p:nvSpPr>
          <p:spPr>
            <a:xfrm>
              <a:off x="5606051" y="4086012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50m</a:t>
              </a:r>
            </a:p>
          </p:txBody>
        </p:sp>
        <p:cxnSp>
          <p:nvCxnSpPr>
            <p:cNvPr id="57" name="Conector Reto 56">
              <a:extLst>
                <a:ext uri="{FF2B5EF4-FFF2-40B4-BE49-F238E27FC236}">
                  <a16:creationId xmlns:a16="http://schemas.microsoft.com/office/drawing/2014/main" id="{C55A36A1-571D-22EF-E356-2328112CEA4A}"/>
                </a:ext>
              </a:extLst>
            </p:cNvPr>
            <p:cNvCxnSpPr>
              <a:cxnSpLocks/>
              <a:stCxn id="14" idx="1"/>
              <a:endCxn id="7" idx="6"/>
            </p:cNvCxnSpPr>
            <p:nvPr/>
          </p:nvCxnSpPr>
          <p:spPr>
            <a:xfrm flipH="1" flipV="1">
              <a:off x="7824011" y="3849130"/>
              <a:ext cx="1420056" cy="4277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3F4463C8-3392-2E52-0972-9CA69DA4CD5D}"/>
                </a:ext>
              </a:extLst>
            </p:cNvPr>
            <p:cNvCxnSpPr>
              <a:cxnSpLocks/>
              <a:stCxn id="8" idx="6"/>
              <a:endCxn id="14" idx="4"/>
            </p:cNvCxnSpPr>
            <p:nvPr/>
          </p:nvCxnSpPr>
          <p:spPr>
            <a:xfrm flipV="1">
              <a:off x="8918659" y="4994070"/>
              <a:ext cx="622485" cy="13682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CaixaDeTexto 88">
              <a:extLst>
                <a:ext uri="{FF2B5EF4-FFF2-40B4-BE49-F238E27FC236}">
                  <a16:creationId xmlns:a16="http://schemas.microsoft.com/office/drawing/2014/main" id="{97AE86A6-3873-CA36-91EE-3DC2A8237818}"/>
                </a:ext>
              </a:extLst>
            </p:cNvPr>
            <p:cNvSpPr txBox="1"/>
            <p:nvPr/>
          </p:nvSpPr>
          <p:spPr>
            <a:xfrm>
              <a:off x="8019807" y="4081633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90m</a:t>
              </a:r>
            </a:p>
          </p:txBody>
        </p:sp>
        <p:sp>
          <p:nvSpPr>
            <p:cNvPr id="91" name="CaixaDeTexto 90">
              <a:extLst>
                <a:ext uri="{FF2B5EF4-FFF2-40B4-BE49-F238E27FC236}">
                  <a16:creationId xmlns:a16="http://schemas.microsoft.com/office/drawing/2014/main" id="{AB1D8D12-DE1A-FC08-B476-51CC688C8481}"/>
                </a:ext>
              </a:extLst>
            </p:cNvPr>
            <p:cNvSpPr txBox="1"/>
            <p:nvPr/>
          </p:nvSpPr>
          <p:spPr>
            <a:xfrm>
              <a:off x="9418458" y="5520306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10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0088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293A66-6E10-F394-0936-E131BDB5E6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D358871-B8D6-22E5-6B64-87488584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D3B8695-10DA-6F4E-140D-BB23EED1E1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asso 1: "Verifica se o grafo é conectado.” </a:t>
            </a: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Sim, é conectado!</a:t>
            </a:r>
          </a:p>
          <a:p>
            <a:r>
              <a:rPr lang="pt-BR" b="1" dirty="0"/>
              <a:t>Passo 2: "Calcula o peso total de todas as arestas originais.” </a:t>
            </a:r>
          </a:p>
          <a:p>
            <a:pPr lvl="1"/>
            <a:r>
              <a:rPr lang="pt-BR" b="1" dirty="0"/>
              <a:t>100 + 120 + 150 + 80 + 100 + 200 + 90 + 110 = 950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pt-BR" b="0" i="0" u="none" strike="noStrike" dirty="0">
              <a:solidFill>
                <a:srgbClr val="000000"/>
              </a:solidFill>
              <a:effectLst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9D35FEC8-C93A-EBC2-86D7-E9EE45550EF7}"/>
              </a:ext>
            </a:extLst>
          </p:cNvPr>
          <p:cNvGrpSpPr/>
          <p:nvPr/>
        </p:nvGrpSpPr>
        <p:grpSpPr>
          <a:xfrm>
            <a:off x="1655797" y="3429000"/>
            <a:ext cx="8659060" cy="3353420"/>
            <a:chOff x="1655797" y="3429000"/>
            <a:chExt cx="8659060" cy="335342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5FD3F27A-601E-A677-6A7F-32F24273055A}"/>
                </a:ext>
              </a:extLst>
            </p:cNvPr>
            <p:cNvSpPr/>
            <p:nvPr/>
          </p:nvSpPr>
          <p:spPr>
            <a:xfrm>
              <a:off x="1655797" y="3964513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A</a:t>
              </a:r>
              <a:endParaRPr lang="pt-BR" b="1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84D0E06-69DF-68FE-3CB4-D54AE188B58B}"/>
                </a:ext>
              </a:extLst>
            </p:cNvPr>
            <p:cNvSpPr/>
            <p:nvPr/>
          </p:nvSpPr>
          <p:spPr>
            <a:xfrm>
              <a:off x="4131268" y="3884194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B</a:t>
              </a:r>
              <a:endParaRPr lang="pt-BR" b="1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3A01E95-D778-8601-4E9C-82D5F09B9653}"/>
                </a:ext>
              </a:extLst>
            </p:cNvPr>
            <p:cNvSpPr/>
            <p:nvPr/>
          </p:nvSpPr>
          <p:spPr>
            <a:xfrm>
              <a:off x="4168923" y="5576789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C</a:t>
              </a:r>
              <a:endParaRPr lang="pt-BR" b="1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72B2EA0-ACBC-DE7A-2554-90C7301140DA}"/>
                </a:ext>
              </a:extLst>
            </p:cNvPr>
            <p:cNvSpPr/>
            <p:nvPr/>
          </p:nvSpPr>
          <p:spPr>
            <a:xfrm>
              <a:off x="6983751" y="342900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D</a:t>
              </a:r>
              <a:endParaRPr lang="pt-BR" b="1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A1F415C-3065-83D3-0C65-25AAC0E14A1F}"/>
                </a:ext>
              </a:extLst>
            </p:cNvPr>
            <p:cNvSpPr/>
            <p:nvPr/>
          </p:nvSpPr>
          <p:spPr>
            <a:xfrm>
              <a:off x="8078399" y="594216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E</a:t>
              </a:r>
              <a:endParaRPr lang="pt-BR" b="1" dirty="0"/>
            </a:p>
          </p:txBody>
        </p:sp>
        <p:cxnSp>
          <p:nvCxnSpPr>
            <p:cNvPr id="10" name="Conector Reto 9">
              <a:extLst>
                <a:ext uri="{FF2B5EF4-FFF2-40B4-BE49-F238E27FC236}">
                  <a16:creationId xmlns:a16="http://schemas.microsoft.com/office/drawing/2014/main" id="{3A51C8D5-D9C8-6883-2F7E-63923A2DA015}"/>
                </a:ext>
              </a:extLst>
            </p:cNvPr>
            <p:cNvCxnSpPr>
              <a:cxnSpLocks/>
              <a:stCxn id="5" idx="6"/>
              <a:endCxn id="6" idx="2"/>
            </p:cNvCxnSpPr>
            <p:nvPr/>
          </p:nvCxnSpPr>
          <p:spPr>
            <a:xfrm flipV="1">
              <a:off x="2496057" y="4304324"/>
              <a:ext cx="1635211" cy="8031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0D822F7A-65DA-1FBF-90EA-FA598AAD121B}"/>
                </a:ext>
              </a:extLst>
            </p:cNvPr>
            <p:cNvCxnSpPr>
              <a:cxnSpLocks/>
              <a:stCxn id="7" idx="2"/>
              <a:endCxn id="5" idx="5"/>
            </p:cNvCxnSpPr>
            <p:nvPr/>
          </p:nvCxnSpPr>
          <p:spPr>
            <a:xfrm flipH="1" flipV="1">
              <a:off x="2373004" y="4681720"/>
              <a:ext cx="1795919" cy="131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6BEAD5A7-C29F-0E44-613C-36DC01FE2620}"/>
                </a:ext>
              </a:extLst>
            </p:cNvPr>
            <p:cNvCxnSpPr>
              <a:cxnSpLocks/>
              <a:stCxn id="7" idx="0"/>
              <a:endCxn id="6" idx="4"/>
            </p:cNvCxnSpPr>
            <p:nvPr/>
          </p:nvCxnSpPr>
          <p:spPr>
            <a:xfrm flipH="1" flipV="1">
              <a:off x="4551398" y="4724454"/>
              <a:ext cx="37655" cy="8523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477D28DD-5D60-A51E-DFC3-ADE6488AA794}"/>
                </a:ext>
              </a:extLst>
            </p:cNvPr>
            <p:cNvCxnSpPr>
              <a:cxnSpLocks/>
              <a:stCxn id="8" idx="2"/>
              <a:endCxn id="6" idx="6"/>
            </p:cNvCxnSpPr>
            <p:nvPr/>
          </p:nvCxnSpPr>
          <p:spPr>
            <a:xfrm flipH="1">
              <a:off x="4971528" y="3849130"/>
              <a:ext cx="2012223" cy="4551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62000CA1-FDE1-B295-E869-D2A1826764EA}"/>
                </a:ext>
              </a:extLst>
            </p:cNvPr>
            <p:cNvCxnSpPr>
              <a:cxnSpLocks/>
              <a:stCxn id="7" idx="5"/>
              <a:endCxn id="9" idx="2"/>
            </p:cNvCxnSpPr>
            <p:nvPr/>
          </p:nvCxnSpPr>
          <p:spPr>
            <a:xfrm>
              <a:off x="4886130" y="6293996"/>
              <a:ext cx="3192269" cy="682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33ED01C-708A-904B-7D22-9C6440713E0D}"/>
                </a:ext>
              </a:extLst>
            </p:cNvPr>
            <p:cNvSpPr/>
            <p:nvPr/>
          </p:nvSpPr>
          <p:spPr>
            <a:xfrm>
              <a:off x="9121014" y="415381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F</a:t>
              </a:r>
              <a:endParaRPr lang="pt-BR" b="1" dirty="0"/>
            </a:p>
          </p:txBody>
        </p: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B58F5EBD-63D7-5327-0AB5-3F6F93985D6C}"/>
                </a:ext>
              </a:extLst>
            </p:cNvPr>
            <p:cNvCxnSpPr>
              <a:cxnSpLocks/>
              <a:stCxn id="9" idx="0"/>
            </p:cNvCxnSpPr>
            <p:nvPr/>
          </p:nvCxnSpPr>
          <p:spPr>
            <a:xfrm flipH="1" flipV="1">
              <a:off x="7627747" y="4269260"/>
              <a:ext cx="870782" cy="16729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D707833B-07CB-A1D1-D18C-FA04A175EC49}"/>
                </a:ext>
              </a:extLst>
            </p:cNvPr>
            <p:cNvSpPr txBox="1"/>
            <p:nvPr/>
          </p:nvSpPr>
          <p:spPr>
            <a:xfrm>
              <a:off x="2929158" y="3922978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5DC9E7FC-2A6B-6DB5-3568-943B5605F202}"/>
                </a:ext>
              </a:extLst>
            </p:cNvPr>
            <p:cNvSpPr txBox="1"/>
            <p:nvPr/>
          </p:nvSpPr>
          <p:spPr>
            <a:xfrm>
              <a:off x="4716638" y="4877654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80m</a:t>
              </a: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57DB0D8E-A516-BAAE-81C5-E49DC07EA454}"/>
                </a:ext>
              </a:extLst>
            </p:cNvPr>
            <p:cNvSpPr txBox="1"/>
            <p:nvPr/>
          </p:nvSpPr>
          <p:spPr>
            <a:xfrm>
              <a:off x="2920719" y="528947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20m</a:t>
              </a:r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51DC67FC-6470-44F2-CE12-F99ACD0565DB}"/>
                </a:ext>
              </a:extLst>
            </p:cNvPr>
            <p:cNvSpPr txBox="1"/>
            <p:nvPr/>
          </p:nvSpPr>
          <p:spPr>
            <a:xfrm>
              <a:off x="6351858" y="5875585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00m</a:t>
              </a:r>
            </a:p>
          </p:txBody>
        </p: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AA8FBC9E-8AE3-E1D8-3E16-C3E350069714}"/>
                </a:ext>
              </a:extLst>
            </p:cNvPr>
            <p:cNvSpPr txBox="1"/>
            <p:nvPr/>
          </p:nvSpPr>
          <p:spPr>
            <a:xfrm>
              <a:off x="7051132" y="499310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87B7331E-D05C-3230-8A83-061E0E47EA21}"/>
                </a:ext>
              </a:extLst>
            </p:cNvPr>
            <p:cNvSpPr txBox="1"/>
            <p:nvPr/>
          </p:nvSpPr>
          <p:spPr>
            <a:xfrm>
              <a:off x="5606051" y="4086012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50m</a:t>
              </a:r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EE1DB4DD-4A61-64E9-60C9-4D4B3A484106}"/>
                </a:ext>
              </a:extLst>
            </p:cNvPr>
            <p:cNvCxnSpPr>
              <a:cxnSpLocks/>
              <a:stCxn id="15" idx="1"/>
              <a:endCxn id="8" idx="6"/>
            </p:cNvCxnSpPr>
            <p:nvPr/>
          </p:nvCxnSpPr>
          <p:spPr>
            <a:xfrm flipH="1" flipV="1">
              <a:off x="7824011" y="3849130"/>
              <a:ext cx="1420056" cy="4277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to 23">
              <a:extLst>
                <a:ext uri="{FF2B5EF4-FFF2-40B4-BE49-F238E27FC236}">
                  <a16:creationId xmlns:a16="http://schemas.microsoft.com/office/drawing/2014/main" id="{8FD4DAF5-7BB1-EF6E-451E-20C5871C563C}"/>
                </a:ext>
              </a:extLst>
            </p:cNvPr>
            <p:cNvCxnSpPr>
              <a:cxnSpLocks/>
              <a:stCxn id="9" idx="6"/>
              <a:endCxn id="15" idx="4"/>
            </p:cNvCxnSpPr>
            <p:nvPr/>
          </p:nvCxnSpPr>
          <p:spPr>
            <a:xfrm flipV="1">
              <a:off x="8918659" y="4994070"/>
              <a:ext cx="622485" cy="13682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3B3411CB-24B7-0DB3-B9F8-5FEC4AAB8AF9}"/>
                </a:ext>
              </a:extLst>
            </p:cNvPr>
            <p:cNvSpPr txBox="1"/>
            <p:nvPr/>
          </p:nvSpPr>
          <p:spPr>
            <a:xfrm>
              <a:off x="8019807" y="4081633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90m</a:t>
              </a:r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76C7BF18-4E2B-B7C6-FE45-751B6348A803}"/>
                </a:ext>
              </a:extLst>
            </p:cNvPr>
            <p:cNvSpPr txBox="1"/>
            <p:nvPr/>
          </p:nvSpPr>
          <p:spPr>
            <a:xfrm>
              <a:off x="9418458" y="5520306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10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5934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A22C05-3DAB-662B-16F7-5BF17C77F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Passeio aberto </a:t>
            </a:r>
            <a:r>
              <a:rPr lang="pt-BR" dirty="0"/>
              <a:t>(open </a:t>
            </a:r>
            <a:r>
              <a:rPr lang="pt-BR" dirty="0" err="1"/>
              <a:t>walk</a:t>
            </a:r>
            <a:r>
              <a:rPr lang="pt-BR" dirty="0"/>
              <a:t>):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0EAF167-C632-2E8C-8BFC-BD477E19C9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Um passeio é considerado </a:t>
            </a:r>
            <a:r>
              <a:rPr lang="pt-BR" b="1" dirty="0"/>
              <a:t>aberto</a:t>
            </a:r>
            <a:r>
              <a:rPr lang="pt-BR" dirty="0"/>
              <a:t> quando o </a:t>
            </a:r>
            <a:r>
              <a:rPr lang="pt-BR" b="1" dirty="0"/>
              <a:t>vértice de origem e de destino são diferentes</a:t>
            </a:r>
            <a:r>
              <a:rPr lang="pt-BR" dirty="0"/>
              <a:t>, ou seja, parte de um vértice e chega em outro de distinto.</a:t>
            </a:r>
          </a:p>
          <a:p>
            <a:pPr marL="0" indent="0">
              <a:buNone/>
            </a:pPr>
            <a:endParaRPr lang="pt-BR" dirty="0"/>
          </a:p>
        </p:txBody>
      </p:sp>
      <p:pic>
        <p:nvPicPr>
          <p:cNvPr id="4" name="Espaço Reservado para Conteúdo 4" descr="Diagrama&#10;&#10;O conteúdo gerado por IA pode estar incorreto.">
            <a:extLst>
              <a:ext uri="{FF2B5EF4-FFF2-40B4-BE49-F238E27FC236}">
                <a16:creationId xmlns:a16="http://schemas.microsoft.com/office/drawing/2014/main" id="{C63A4810-CBB4-8C39-109D-470D9E52A8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1740" y="4403158"/>
            <a:ext cx="6944868" cy="1398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561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FC43F-27F8-DE5C-A5B1-97AF20D779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597DF9-1341-557C-C2B0-481CF604C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ED4F2D-6929-67B6-BE3B-FFA1DB0ED9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b="1" dirty="0"/>
              <a:t>Passo 3: "Identifica todos os vértices de grau ímpar.”</a:t>
            </a:r>
          </a:p>
          <a:p>
            <a:pPr lvl="1"/>
            <a:r>
              <a:rPr lang="pt-BR" b="1" dirty="0">
                <a:solidFill>
                  <a:srgbClr val="000000"/>
                </a:solidFill>
              </a:rPr>
              <a:t>B, C, </a:t>
            </a:r>
            <a:r>
              <a:rPr lang="pt-BR" b="1" dirty="0" err="1">
                <a:solidFill>
                  <a:srgbClr val="000000"/>
                </a:solidFill>
              </a:rPr>
              <a:t>D</a:t>
            </a:r>
            <a:r>
              <a:rPr lang="pt-BR" b="1" dirty="0">
                <a:solidFill>
                  <a:srgbClr val="000000"/>
                </a:solidFill>
              </a:rPr>
              <a:t>, E</a:t>
            </a:r>
            <a:endParaRPr lang="pt-BR" dirty="0">
              <a:solidFill>
                <a:srgbClr val="000000"/>
              </a:solidFill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858D995C-3CBE-64B0-BDD5-4827DBE5B14D}"/>
              </a:ext>
            </a:extLst>
          </p:cNvPr>
          <p:cNvGrpSpPr/>
          <p:nvPr/>
        </p:nvGrpSpPr>
        <p:grpSpPr>
          <a:xfrm>
            <a:off x="1655797" y="3429000"/>
            <a:ext cx="8659060" cy="3353420"/>
            <a:chOff x="1655797" y="3429000"/>
            <a:chExt cx="8659060" cy="335342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713F762-72AB-DF3F-0725-48CBBB24B3F9}"/>
                </a:ext>
              </a:extLst>
            </p:cNvPr>
            <p:cNvSpPr/>
            <p:nvPr/>
          </p:nvSpPr>
          <p:spPr>
            <a:xfrm>
              <a:off x="1655797" y="3964513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A</a:t>
              </a:r>
              <a:endParaRPr lang="pt-BR" b="1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C670CA8-D13B-D395-F410-B601A2DAE12E}"/>
                </a:ext>
              </a:extLst>
            </p:cNvPr>
            <p:cNvSpPr/>
            <p:nvPr/>
          </p:nvSpPr>
          <p:spPr>
            <a:xfrm>
              <a:off x="4131268" y="3884194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B</a:t>
              </a:r>
              <a:endParaRPr lang="pt-BR" b="1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75DF5F0-4036-1C8E-EB67-CC160093BA39}"/>
                </a:ext>
              </a:extLst>
            </p:cNvPr>
            <p:cNvSpPr/>
            <p:nvPr/>
          </p:nvSpPr>
          <p:spPr>
            <a:xfrm>
              <a:off x="4168923" y="5576789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C</a:t>
              </a:r>
              <a:endParaRPr lang="pt-BR" b="1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329B5D-CAAE-1EF5-F18C-9B8CF706B39C}"/>
                </a:ext>
              </a:extLst>
            </p:cNvPr>
            <p:cNvSpPr/>
            <p:nvPr/>
          </p:nvSpPr>
          <p:spPr>
            <a:xfrm>
              <a:off x="6983751" y="342900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D</a:t>
              </a:r>
              <a:endParaRPr lang="pt-BR" b="1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18A65B3-A594-58F0-FDCD-A45D84E1B19E}"/>
                </a:ext>
              </a:extLst>
            </p:cNvPr>
            <p:cNvSpPr/>
            <p:nvPr/>
          </p:nvSpPr>
          <p:spPr>
            <a:xfrm>
              <a:off x="8078399" y="594216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E</a:t>
              </a:r>
              <a:endParaRPr lang="pt-BR" b="1" dirty="0"/>
            </a:p>
          </p:txBody>
        </p:sp>
        <p:cxnSp>
          <p:nvCxnSpPr>
            <p:cNvPr id="10" name="Conector Reto 9">
              <a:extLst>
                <a:ext uri="{FF2B5EF4-FFF2-40B4-BE49-F238E27FC236}">
                  <a16:creationId xmlns:a16="http://schemas.microsoft.com/office/drawing/2014/main" id="{6AEE5CFC-8487-14EF-C0B8-68454022BC14}"/>
                </a:ext>
              </a:extLst>
            </p:cNvPr>
            <p:cNvCxnSpPr>
              <a:cxnSpLocks/>
              <a:stCxn id="5" idx="6"/>
              <a:endCxn id="6" idx="2"/>
            </p:cNvCxnSpPr>
            <p:nvPr/>
          </p:nvCxnSpPr>
          <p:spPr>
            <a:xfrm flipV="1">
              <a:off x="2496057" y="4304324"/>
              <a:ext cx="1635211" cy="8031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704AC8E8-DE8D-4CE9-80BA-512BFAA81486}"/>
                </a:ext>
              </a:extLst>
            </p:cNvPr>
            <p:cNvCxnSpPr>
              <a:cxnSpLocks/>
              <a:stCxn id="7" idx="2"/>
              <a:endCxn id="5" idx="5"/>
            </p:cNvCxnSpPr>
            <p:nvPr/>
          </p:nvCxnSpPr>
          <p:spPr>
            <a:xfrm flipH="1" flipV="1">
              <a:off x="2373004" y="4681720"/>
              <a:ext cx="1795919" cy="131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F090B722-8674-072D-9BEE-853FF239BF43}"/>
                </a:ext>
              </a:extLst>
            </p:cNvPr>
            <p:cNvCxnSpPr>
              <a:cxnSpLocks/>
              <a:stCxn id="7" idx="0"/>
              <a:endCxn id="6" idx="4"/>
            </p:cNvCxnSpPr>
            <p:nvPr/>
          </p:nvCxnSpPr>
          <p:spPr>
            <a:xfrm flipH="1" flipV="1">
              <a:off x="4551398" y="4724454"/>
              <a:ext cx="37655" cy="8523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E1597D63-D416-442B-E3B5-73FF15C222F9}"/>
                </a:ext>
              </a:extLst>
            </p:cNvPr>
            <p:cNvCxnSpPr>
              <a:cxnSpLocks/>
              <a:stCxn id="8" idx="2"/>
              <a:endCxn id="6" idx="6"/>
            </p:cNvCxnSpPr>
            <p:nvPr/>
          </p:nvCxnSpPr>
          <p:spPr>
            <a:xfrm flipH="1">
              <a:off x="4971528" y="3849130"/>
              <a:ext cx="2012223" cy="4551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CFEB8755-CA9C-63A2-B110-2BCD9204B145}"/>
                </a:ext>
              </a:extLst>
            </p:cNvPr>
            <p:cNvCxnSpPr>
              <a:cxnSpLocks/>
              <a:stCxn id="7" idx="5"/>
              <a:endCxn id="9" idx="2"/>
            </p:cNvCxnSpPr>
            <p:nvPr/>
          </p:nvCxnSpPr>
          <p:spPr>
            <a:xfrm>
              <a:off x="4886130" y="6293996"/>
              <a:ext cx="3192269" cy="682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3C891FB-8FE7-3796-46F8-1E47630F7BA6}"/>
                </a:ext>
              </a:extLst>
            </p:cNvPr>
            <p:cNvSpPr/>
            <p:nvPr/>
          </p:nvSpPr>
          <p:spPr>
            <a:xfrm>
              <a:off x="9121014" y="415381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F</a:t>
              </a:r>
              <a:endParaRPr lang="pt-BR" b="1" dirty="0"/>
            </a:p>
          </p:txBody>
        </p: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C10992F2-8519-0C89-3660-142156C0ADD6}"/>
                </a:ext>
              </a:extLst>
            </p:cNvPr>
            <p:cNvCxnSpPr>
              <a:cxnSpLocks/>
              <a:stCxn id="9" idx="0"/>
            </p:cNvCxnSpPr>
            <p:nvPr/>
          </p:nvCxnSpPr>
          <p:spPr>
            <a:xfrm flipH="1" flipV="1">
              <a:off x="7627747" y="4269260"/>
              <a:ext cx="870782" cy="16729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1A4575BD-2ADF-BF44-7033-8F5D3CB3689D}"/>
                </a:ext>
              </a:extLst>
            </p:cNvPr>
            <p:cNvSpPr txBox="1"/>
            <p:nvPr/>
          </p:nvSpPr>
          <p:spPr>
            <a:xfrm>
              <a:off x="2929158" y="3922978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5869BD1F-0EC0-EB7D-2789-9CEA5DC88636}"/>
                </a:ext>
              </a:extLst>
            </p:cNvPr>
            <p:cNvSpPr txBox="1"/>
            <p:nvPr/>
          </p:nvSpPr>
          <p:spPr>
            <a:xfrm>
              <a:off x="4716638" y="4877654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80m</a:t>
              </a: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BF5AB281-D007-F1C5-B72D-495052DCECF2}"/>
                </a:ext>
              </a:extLst>
            </p:cNvPr>
            <p:cNvSpPr txBox="1"/>
            <p:nvPr/>
          </p:nvSpPr>
          <p:spPr>
            <a:xfrm>
              <a:off x="2920719" y="528947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20m</a:t>
              </a:r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07C2AF87-3091-C6BE-5F82-4A4D4F7239C3}"/>
                </a:ext>
              </a:extLst>
            </p:cNvPr>
            <p:cNvSpPr txBox="1"/>
            <p:nvPr/>
          </p:nvSpPr>
          <p:spPr>
            <a:xfrm>
              <a:off x="6351858" y="5875585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00m</a:t>
              </a:r>
            </a:p>
          </p:txBody>
        </p: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CAE5A325-A3D1-8C30-D96F-C8D978AA28EF}"/>
                </a:ext>
              </a:extLst>
            </p:cNvPr>
            <p:cNvSpPr txBox="1"/>
            <p:nvPr/>
          </p:nvSpPr>
          <p:spPr>
            <a:xfrm>
              <a:off x="7051132" y="499310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FC2ACAF8-0F18-6C87-E07A-07F8CF9E1BCA}"/>
                </a:ext>
              </a:extLst>
            </p:cNvPr>
            <p:cNvSpPr txBox="1"/>
            <p:nvPr/>
          </p:nvSpPr>
          <p:spPr>
            <a:xfrm>
              <a:off x="5606051" y="4086012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50m</a:t>
              </a:r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96EF8AEC-9E1B-946F-1F49-F1D59276D7CD}"/>
                </a:ext>
              </a:extLst>
            </p:cNvPr>
            <p:cNvCxnSpPr>
              <a:cxnSpLocks/>
              <a:stCxn id="15" idx="1"/>
              <a:endCxn id="8" idx="6"/>
            </p:cNvCxnSpPr>
            <p:nvPr/>
          </p:nvCxnSpPr>
          <p:spPr>
            <a:xfrm flipH="1" flipV="1">
              <a:off x="7824011" y="3849130"/>
              <a:ext cx="1420056" cy="4277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to 23">
              <a:extLst>
                <a:ext uri="{FF2B5EF4-FFF2-40B4-BE49-F238E27FC236}">
                  <a16:creationId xmlns:a16="http://schemas.microsoft.com/office/drawing/2014/main" id="{FF7B46BB-7D57-8131-162A-12D45FBCF4CE}"/>
                </a:ext>
              </a:extLst>
            </p:cNvPr>
            <p:cNvCxnSpPr>
              <a:cxnSpLocks/>
              <a:stCxn id="9" idx="6"/>
              <a:endCxn id="15" idx="4"/>
            </p:cNvCxnSpPr>
            <p:nvPr/>
          </p:nvCxnSpPr>
          <p:spPr>
            <a:xfrm flipV="1">
              <a:off x="8918659" y="4994070"/>
              <a:ext cx="622485" cy="13682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BFBB9378-316C-A4F8-175A-CD3B666B82D8}"/>
                </a:ext>
              </a:extLst>
            </p:cNvPr>
            <p:cNvSpPr txBox="1"/>
            <p:nvPr/>
          </p:nvSpPr>
          <p:spPr>
            <a:xfrm>
              <a:off x="8019807" y="4081633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90m</a:t>
              </a:r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D9ECACAD-D99B-7511-36AE-AC26A7F7EF75}"/>
                </a:ext>
              </a:extLst>
            </p:cNvPr>
            <p:cNvSpPr txBox="1"/>
            <p:nvPr/>
          </p:nvSpPr>
          <p:spPr>
            <a:xfrm>
              <a:off x="9418458" y="5520306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10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6088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8DE9E4-40CE-CF17-8C9C-AFD4B078F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8AF4BC-8273-B2FD-0E41-40300970D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232F59C-C939-C20E-7B51-C6949CA712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b="1" dirty="0"/>
              <a:t>Passo 5: ”Caminho mais curto entre vértices ímpar.”</a:t>
            </a:r>
          </a:p>
          <a:p>
            <a:pPr lvl="1"/>
            <a:r>
              <a:rPr lang="pt-BR" b="1" dirty="0">
                <a:solidFill>
                  <a:srgbClr val="000000"/>
                </a:solidFill>
              </a:rPr>
              <a:t>B – </a:t>
            </a:r>
            <a:r>
              <a:rPr lang="pt-BR" b="1" dirty="0" err="1">
                <a:solidFill>
                  <a:srgbClr val="000000"/>
                </a:solidFill>
              </a:rPr>
              <a:t>D</a:t>
            </a:r>
            <a:r>
              <a:rPr lang="pt-BR" b="1" dirty="0">
                <a:solidFill>
                  <a:srgbClr val="000000"/>
                </a:solidFill>
              </a:rPr>
              <a:t> = 150, B – C = 80, B – E = 250, C – E = 200, C – </a:t>
            </a:r>
            <a:r>
              <a:rPr lang="pt-BR" b="1" dirty="0" err="1">
                <a:solidFill>
                  <a:srgbClr val="000000"/>
                </a:solidFill>
              </a:rPr>
              <a:t>D</a:t>
            </a:r>
            <a:r>
              <a:rPr lang="pt-BR" b="1" dirty="0">
                <a:solidFill>
                  <a:srgbClr val="000000"/>
                </a:solidFill>
              </a:rPr>
              <a:t> = 230, </a:t>
            </a:r>
            <a:r>
              <a:rPr lang="pt-BR" b="1" dirty="0" err="1">
                <a:solidFill>
                  <a:srgbClr val="000000"/>
                </a:solidFill>
              </a:rPr>
              <a:t>D</a:t>
            </a:r>
            <a:r>
              <a:rPr lang="pt-BR" b="1" dirty="0">
                <a:solidFill>
                  <a:srgbClr val="000000"/>
                </a:solidFill>
              </a:rPr>
              <a:t> – E = 100</a:t>
            </a:r>
            <a:endParaRPr lang="pt-BR" dirty="0">
              <a:solidFill>
                <a:srgbClr val="000000"/>
              </a:solidFill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D6A7E841-2B34-F769-19BD-B2103F470D54}"/>
              </a:ext>
            </a:extLst>
          </p:cNvPr>
          <p:cNvGrpSpPr/>
          <p:nvPr/>
        </p:nvGrpSpPr>
        <p:grpSpPr>
          <a:xfrm>
            <a:off x="1655797" y="3429000"/>
            <a:ext cx="8659060" cy="3353420"/>
            <a:chOff x="1655797" y="3429000"/>
            <a:chExt cx="8659060" cy="335342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E16C691-2C47-FE15-3DB0-9F094BD89A44}"/>
                </a:ext>
              </a:extLst>
            </p:cNvPr>
            <p:cNvSpPr/>
            <p:nvPr/>
          </p:nvSpPr>
          <p:spPr>
            <a:xfrm>
              <a:off x="1655797" y="3964513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A</a:t>
              </a:r>
              <a:endParaRPr lang="pt-BR" b="1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8F527D5-40A2-8A95-06D2-745FE322BF8E}"/>
                </a:ext>
              </a:extLst>
            </p:cNvPr>
            <p:cNvSpPr/>
            <p:nvPr/>
          </p:nvSpPr>
          <p:spPr>
            <a:xfrm>
              <a:off x="4131268" y="3884194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B</a:t>
              </a:r>
              <a:endParaRPr lang="pt-BR" b="1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BDC3F3F-8025-55E9-F6B4-00F7366C5E39}"/>
                </a:ext>
              </a:extLst>
            </p:cNvPr>
            <p:cNvSpPr/>
            <p:nvPr/>
          </p:nvSpPr>
          <p:spPr>
            <a:xfrm>
              <a:off x="4168923" y="5576789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C</a:t>
              </a:r>
              <a:endParaRPr lang="pt-BR" b="1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629F8AE-CF13-0200-0C4C-59D87EE9E443}"/>
                </a:ext>
              </a:extLst>
            </p:cNvPr>
            <p:cNvSpPr/>
            <p:nvPr/>
          </p:nvSpPr>
          <p:spPr>
            <a:xfrm>
              <a:off x="6983751" y="3429000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D</a:t>
              </a:r>
              <a:endParaRPr lang="pt-BR" b="1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A44EC495-9A85-7D1F-919D-50385ED8E311}"/>
                </a:ext>
              </a:extLst>
            </p:cNvPr>
            <p:cNvSpPr/>
            <p:nvPr/>
          </p:nvSpPr>
          <p:spPr>
            <a:xfrm>
              <a:off x="8078399" y="5942160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E</a:t>
              </a:r>
              <a:endParaRPr lang="pt-BR" b="1" dirty="0"/>
            </a:p>
          </p:txBody>
        </p:sp>
        <p:cxnSp>
          <p:nvCxnSpPr>
            <p:cNvPr id="10" name="Conector Reto 9">
              <a:extLst>
                <a:ext uri="{FF2B5EF4-FFF2-40B4-BE49-F238E27FC236}">
                  <a16:creationId xmlns:a16="http://schemas.microsoft.com/office/drawing/2014/main" id="{832DF700-E9FF-C23B-6DC4-FC176B0DF967}"/>
                </a:ext>
              </a:extLst>
            </p:cNvPr>
            <p:cNvCxnSpPr>
              <a:cxnSpLocks/>
              <a:stCxn id="5" idx="6"/>
              <a:endCxn id="6" idx="2"/>
            </p:cNvCxnSpPr>
            <p:nvPr/>
          </p:nvCxnSpPr>
          <p:spPr>
            <a:xfrm flipV="1">
              <a:off x="2496057" y="4304324"/>
              <a:ext cx="1635211" cy="8031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C58E5B5D-293D-7823-999F-21A5BA84A155}"/>
                </a:ext>
              </a:extLst>
            </p:cNvPr>
            <p:cNvCxnSpPr>
              <a:cxnSpLocks/>
              <a:stCxn id="7" idx="2"/>
              <a:endCxn id="5" idx="5"/>
            </p:cNvCxnSpPr>
            <p:nvPr/>
          </p:nvCxnSpPr>
          <p:spPr>
            <a:xfrm flipH="1" flipV="1">
              <a:off x="2373004" y="4681720"/>
              <a:ext cx="1795919" cy="131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FE25C2DB-3933-57E0-9947-AF6910287FEB}"/>
                </a:ext>
              </a:extLst>
            </p:cNvPr>
            <p:cNvCxnSpPr>
              <a:cxnSpLocks/>
              <a:stCxn id="7" idx="0"/>
              <a:endCxn id="6" idx="4"/>
            </p:cNvCxnSpPr>
            <p:nvPr/>
          </p:nvCxnSpPr>
          <p:spPr>
            <a:xfrm flipH="1" flipV="1">
              <a:off x="4551398" y="4724454"/>
              <a:ext cx="37655" cy="8523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62938283-C5EA-65F5-98AA-2D4C76EA683C}"/>
                </a:ext>
              </a:extLst>
            </p:cNvPr>
            <p:cNvCxnSpPr>
              <a:cxnSpLocks/>
              <a:stCxn id="8" idx="2"/>
              <a:endCxn id="6" idx="6"/>
            </p:cNvCxnSpPr>
            <p:nvPr/>
          </p:nvCxnSpPr>
          <p:spPr>
            <a:xfrm flipH="1">
              <a:off x="4971528" y="3849130"/>
              <a:ext cx="2012223" cy="4551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B73E8452-D666-1BB2-9C48-4DA34A09CFA3}"/>
                </a:ext>
              </a:extLst>
            </p:cNvPr>
            <p:cNvCxnSpPr>
              <a:cxnSpLocks/>
              <a:stCxn id="7" idx="5"/>
              <a:endCxn id="9" idx="2"/>
            </p:cNvCxnSpPr>
            <p:nvPr/>
          </p:nvCxnSpPr>
          <p:spPr>
            <a:xfrm>
              <a:off x="4886130" y="6293996"/>
              <a:ext cx="3192269" cy="682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3863DE3-AAF8-F274-7391-349C51EAD42D}"/>
                </a:ext>
              </a:extLst>
            </p:cNvPr>
            <p:cNvSpPr/>
            <p:nvPr/>
          </p:nvSpPr>
          <p:spPr>
            <a:xfrm>
              <a:off x="9121014" y="4153810"/>
              <a:ext cx="840260" cy="84026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F</a:t>
              </a:r>
              <a:endParaRPr lang="pt-BR" b="1" dirty="0"/>
            </a:p>
          </p:txBody>
        </p: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A60ED25F-06A8-F03B-C1D2-57C0A85F1F87}"/>
                </a:ext>
              </a:extLst>
            </p:cNvPr>
            <p:cNvCxnSpPr>
              <a:cxnSpLocks/>
              <a:stCxn id="9" idx="0"/>
            </p:cNvCxnSpPr>
            <p:nvPr/>
          </p:nvCxnSpPr>
          <p:spPr>
            <a:xfrm flipH="1" flipV="1">
              <a:off x="7627747" y="4269260"/>
              <a:ext cx="870782" cy="16729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2D752337-CEF7-F12B-DE74-320FC7EA7926}"/>
                </a:ext>
              </a:extLst>
            </p:cNvPr>
            <p:cNvSpPr txBox="1"/>
            <p:nvPr/>
          </p:nvSpPr>
          <p:spPr>
            <a:xfrm>
              <a:off x="2929158" y="3922978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6E359DB5-901A-6F75-B7DB-1FDB7B1921AA}"/>
                </a:ext>
              </a:extLst>
            </p:cNvPr>
            <p:cNvSpPr txBox="1"/>
            <p:nvPr/>
          </p:nvSpPr>
          <p:spPr>
            <a:xfrm>
              <a:off x="4716638" y="4877654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80m</a:t>
              </a: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C411E1FE-E78E-A426-B47D-F081CCB70AD3}"/>
                </a:ext>
              </a:extLst>
            </p:cNvPr>
            <p:cNvSpPr txBox="1"/>
            <p:nvPr/>
          </p:nvSpPr>
          <p:spPr>
            <a:xfrm>
              <a:off x="2920719" y="528947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20m</a:t>
              </a:r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1ECF4547-E122-4EFC-5A5A-D758297371F1}"/>
                </a:ext>
              </a:extLst>
            </p:cNvPr>
            <p:cNvSpPr txBox="1"/>
            <p:nvPr/>
          </p:nvSpPr>
          <p:spPr>
            <a:xfrm>
              <a:off x="6351858" y="5875585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00m</a:t>
              </a:r>
            </a:p>
          </p:txBody>
        </p: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8F007F76-473A-B852-5A4D-F57C14AC62D0}"/>
                </a:ext>
              </a:extLst>
            </p:cNvPr>
            <p:cNvSpPr txBox="1"/>
            <p:nvPr/>
          </p:nvSpPr>
          <p:spPr>
            <a:xfrm>
              <a:off x="7051132" y="499310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5584E7C6-E5D5-A4BE-28D5-E492639B1836}"/>
                </a:ext>
              </a:extLst>
            </p:cNvPr>
            <p:cNvSpPr txBox="1"/>
            <p:nvPr/>
          </p:nvSpPr>
          <p:spPr>
            <a:xfrm>
              <a:off x="5606051" y="4086012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50m</a:t>
              </a:r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1A54DA40-4216-8217-CDB7-7604EDB60C47}"/>
                </a:ext>
              </a:extLst>
            </p:cNvPr>
            <p:cNvCxnSpPr>
              <a:cxnSpLocks/>
              <a:stCxn id="15" idx="1"/>
              <a:endCxn id="8" idx="6"/>
            </p:cNvCxnSpPr>
            <p:nvPr/>
          </p:nvCxnSpPr>
          <p:spPr>
            <a:xfrm flipH="1" flipV="1">
              <a:off x="7824011" y="3849130"/>
              <a:ext cx="1420056" cy="4277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to 23">
              <a:extLst>
                <a:ext uri="{FF2B5EF4-FFF2-40B4-BE49-F238E27FC236}">
                  <a16:creationId xmlns:a16="http://schemas.microsoft.com/office/drawing/2014/main" id="{ED7BE453-51A7-F48A-3494-1F9925E041C1}"/>
                </a:ext>
              </a:extLst>
            </p:cNvPr>
            <p:cNvCxnSpPr>
              <a:cxnSpLocks/>
              <a:stCxn id="9" idx="6"/>
              <a:endCxn id="15" idx="4"/>
            </p:cNvCxnSpPr>
            <p:nvPr/>
          </p:nvCxnSpPr>
          <p:spPr>
            <a:xfrm flipV="1">
              <a:off x="8918659" y="4994070"/>
              <a:ext cx="622485" cy="13682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E432C7B5-8FA7-7263-D45E-EDF3D3AA45F7}"/>
                </a:ext>
              </a:extLst>
            </p:cNvPr>
            <p:cNvSpPr txBox="1"/>
            <p:nvPr/>
          </p:nvSpPr>
          <p:spPr>
            <a:xfrm>
              <a:off x="8019807" y="4081633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90m</a:t>
              </a:r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23C27B69-199A-89DD-569B-F63CBA5037E1}"/>
                </a:ext>
              </a:extLst>
            </p:cNvPr>
            <p:cNvSpPr txBox="1"/>
            <p:nvPr/>
          </p:nvSpPr>
          <p:spPr>
            <a:xfrm>
              <a:off x="9418458" y="5520306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10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11645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40BB1-EA53-B704-4DA9-9F9086C3D3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167E59-0A7B-81CD-4732-AB40EF08D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1A3BEE0-AC79-FA7C-1294-C2AD8871C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b="1" dirty="0"/>
              <a:t>Passo 6: "Cria um novo grafo apenas com os vértices ímpares..."</a:t>
            </a:r>
          </a:p>
          <a:p>
            <a:pPr lvl="1"/>
            <a:r>
              <a:rPr lang="pt-BR" b="1" dirty="0">
                <a:solidFill>
                  <a:srgbClr val="000000"/>
                </a:solidFill>
              </a:rPr>
              <a:t>B – </a:t>
            </a:r>
            <a:r>
              <a:rPr lang="pt-BR" b="1" dirty="0" err="1">
                <a:solidFill>
                  <a:srgbClr val="000000"/>
                </a:solidFill>
              </a:rPr>
              <a:t>D</a:t>
            </a:r>
            <a:r>
              <a:rPr lang="pt-BR" b="1" dirty="0">
                <a:solidFill>
                  <a:srgbClr val="000000"/>
                </a:solidFill>
              </a:rPr>
              <a:t> = 150, </a:t>
            </a:r>
          </a:p>
          <a:p>
            <a:pPr lvl="1"/>
            <a:r>
              <a:rPr lang="pt-BR" b="1" dirty="0">
                <a:solidFill>
                  <a:srgbClr val="000000"/>
                </a:solidFill>
              </a:rPr>
              <a:t>B – C = 80,</a:t>
            </a:r>
          </a:p>
          <a:p>
            <a:pPr lvl="1"/>
            <a:r>
              <a:rPr lang="pt-BR" b="1" dirty="0">
                <a:solidFill>
                  <a:srgbClr val="000000"/>
                </a:solidFill>
              </a:rPr>
              <a:t>B – E = 250, </a:t>
            </a:r>
          </a:p>
          <a:p>
            <a:pPr lvl="1"/>
            <a:r>
              <a:rPr lang="pt-BR" b="1" dirty="0">
                <a:solidFill>
                  <a:srgbClr val="000000"/>
                </a:solidFill>
              </a:rPr>
              <a:t>C – E = 200, </a:t>
            </a:r>
          </a:p>
          <a:p>
            <a:pPr lvl="1"/>
            <a:r>
              <a:rPr lang="pt-BR" b="1" dirty="0">
                <a:solidFill>
                  <a:srgbClr val="000000"/>
                </a:solidFill>
              </a:rPr>
              <a:t>C – </a:t>
            </a:r>
            <a:r>
              <a:rPr lang="pt-BR" b="1" dirty="0" err="1">
                <a:solidFill>
                  <a:srgbClr val="000000"/>
                </a:solidFill>
              </a:rPr>
              <a:t>D</a:t>
            </a:r>
            <a:r>
              <a:rPr lang="pt-BR" b="1" dirty="0">
                <a:solidFill>
                  <a:srgbClr val="000000"/>
                </a:solidFill>
              </a:rPr>
              <a:t> = 230, </a:t>
            </a:r>
          </a:p>
          <a:p>
            <a:pPr lvl="1"/>
            <a:r>
              <a:rPr lang="pt-BR" b="1" dirty="0" err="1">
                <a:solidFill>
                  <a:srgbClr val="000000"/>
                </a:solidFill>
              </a:rPr>
              <a:t>D</a:t>
            </a:r>
            <a:r>
              <a:rPr lang="pt-BR" b="1" dirty="0">
                <a:solidFill>
                  <a:srgbClr val="000000"/>
                </a:solidFill>
              </a:rPr>
              <a:t> – E = 100</a:t>
            </a:r>
            <a:endParaRPr lang="pt-BR" dirty="0">
              <a:solidFill>
                <a:srgbClr val="000000"/>
              </a:solidFill>
            </a:endParaRPr>
          </a:p>
        </p:txBody>
      </p: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B6BB8BD3-85FC-7D76-07D8-4F25A65FC14B}"/>
              </a:ext>
            </a:extLst>
          </p:cNvPr>
          <p:cNvGrpSpPr/>
          <p:nvPr/>
        </p:nvGrpSpPr>
        <p:grpSpPr>
          <a:xfrm>
            <a:off x="4131268" y="3429000"/>
            <a:ext cx="4787391" cy="3353420"/>
            <a:chOff x="4131268" y="3429000"/>
            <a:chExt cx="4787391" cy="335342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54B759D-BC75-0A78-FFBF-86A9CDDB8AC3}"/>
                </a:ext>
              </a:extLst>
            </p:cNvPr>
            <p:cNvSpPr/>
            <p:nvPr/>
          </p:nvSpPr>
          <p:spPr>
            <a:xfrm>
              <a:off x="4131268" y="3884194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B</a:t>
              </a:r>
              <a:endParaRPr lang="pt-BR" b="1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EBD5C3D-27ED-2017-36AF-24A2313EAB54}"/>
                </a:ext>
              </a:extLst>
            </p:cNvPr>
            <p:cNvSpPr/>
            <p:nvPr/>
          </p:nvSpPr>
          <p:spPr>
            <a:xfrm>
              <a:off x="4168923" y="5576789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C</a:t>
              </a:r>
              <a:endParaRPr lang="pt-BR" b="1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94B4A89-00CF-2600-C866-6BA238037B53}"/>
                </a:ext>
              </a:extLst>
            </p:cNvPr>
            <p:cNvSpPr/>
            <p:nvPr/>
          </p:nvSpPr>
          <p:spPr>
            <a:xfrm>
              <a:off x="6983751" y="3429000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D</a:t>
              </a:r>
              <a:endParaRPr lang="pt-BR" b="1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3BA37A8-26D9-104D-6C1E-FABB197D4BBE}"/>
                </a:ext>
              </a:extLst>
            </p:cNvPr>
            <p:cNvSpPr/>
            <p:nvPr/>
          </p:nvSpPr>
          <p:spPr>
            <a:xfrm>
              <a:off x="8078399" y="5942160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E</a:t>
              </a:r>
              <a:endParaRPr lang="pt-BR" b="1" dirty="0"/>
            </a:p>
          </p:txBody>
        </p:sp>
        <p:cxnSp>
          <p:nvCxnSpPr>
            <p:cNvPr id="10" name="Conector Reto 9">
              <a:extLst>
                <a:ext uri="{FF2B5EF4-FFF2-40B4-BE49-F238E27FC236}">
                  <a16:creationId xmlns:a16="http://schemas.microsoft.com/office/drawing/2014/main" id="{161A49D9-5061-BF8F-924D-14E0B1C04777}"/>
                </a:ext>
              </a:extLst>
            </p:cNvPr>
            <p:cNvCxnSpPr>
              <a:cxnSpLocks/>
              <a:stCxn id="6" idx="5"/>
              <a:endCxn id="9" idx="1"/>
            </p:cNvCxnSpPr>
            <p:nvPr/>
          </p:nvCxnSpPr>
          <p:spPr>
            <a:xfrm>
              <a:off x="4848475" y="4601401"/>
              <a:ext cx="3352977" cy="14638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E12C15CB-CDDF-E78A-BBA5-99C9F66349EA}"/>
                </a:ext>
              </a:extLst>
            </p:cNvPr>
            <p:cNvCxnSpPr>
              <a:cxnSpLocks/>
              <a:stCxn id="7" idx="0"/>
              <a:endCxn id="6" idx="4"/>
            </p:cNvCxnSpPr>
            <p:nvPr/>
          </p:nvCxnSpPr>
          <p:spPr>
            <a:xfrm flipH="1" flipV="1">
              <a:off x="4551398" y="4724454"/>
              <a:ext cx="37655" cy="8523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DC7A05C1-292E-00C8-D38D-0273E622058D}"/>
                </a:ext>
              </a:extLst>
            </p:cNvPr>
            <p:cNvCxnSpPr>
              <a:cxnSpLocks/>
              <a:stCxn id="8" idx="2"/>
              <a:endCxn id="6" idx="6"/>
            </p:cNvCxnSpPr>
            <p:nvPr/>
          </p:nvCxnSpPr>
          <p:spPr>
            <a:xfrm flipH="1">
              <a:off x="4971528" y="3849130"/>
              <a:ext cx="2012223" cy="4551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71D5F89C-582E-7F15-AE1E-714E4422601D}"/>
                </a:ext>
              </a:extLst>
            </p:cNvPr>
            <p:cNvCxnSpPr>
              <a:cxnSpLocks/>
              <a:stCxn id="7" idx="5"/>
              <a:endCxn id="9" idx="2"/>
            </p:cNvCxnSpPr>
            <p:nvPr/>
          </p:nvCxnSpPr>
          <p:spPr>
            <a:xfrm>
              <a:off x="4886130" y="6293996"/>
              <a:ext cx="3192269" cy="682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B4E2ECA7-241E-14AF-B2F2-C5C6912D0FAC}"/>
                </a:ext>
              </a:extLst>
            </p:cNvPr>
            <p:cNvCxnSpPr>
              <a:cxnSpLocks/>
              <a:stCxn id="9" idx="0"/>
              <a:endCxn id="8" idx="5"/>
            </p:cNvCxnSpPr>
            <p:nvPr/>
          </p:nvCxnSpPr>
          <p:spPr>
            <a:xfrm flipH="1" flipV="1">
              <a:off x="7700958" y="4146207"/>
              <a:ext cx="797571" cy="179595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17395E63-3769-FCED-F24D-841D124D0A12}"/>
                </a:ext>
              </a:extLst>
            </p:cNvPr>
            <p:cNvSpPr txBox="1"/>
            <p:nvPr/>
          </p:nvSpPr>
          <p:spPr>
            <a:xfrm>
              <a:off x="4144403" y="4871642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80m</a:t>
              </a:r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D56B7C59-471A-0C72-4436-97EF8EED9588}"/>
                </a:ext>
              </a:extLst>
            </p:cNvPr>
            <p:cNvSpPr txBox="1"/>
            <p:nvPr/>
          </p:nvSpPr>
          <p:spPr>
            <a:xfrm>
              <a:off x="6535551" y="5223910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50m</a:t>
              </a:r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EFE2C226-44E7-461E-888F-8C5BF64CD46D}"/>
                </a:ext>
              </a:extLst>
            </p:cNvPr>
            <p:cNvSpPr txBox="1"/>
            <p:nvPr/>
          </p:nvSpPr>
          <p:spPr>
            <a:xfrm>
              <a:off x="6144101" y="6135949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00m</a:t>
              </a:r>
            </a:p>
          </p:txBody>
        </p: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F8CB7654-C3A8-1DC1-E062-D97BF3F0EE5B}"/>
                </a:ext>
              </a:extLst>
            </p:cNvPr>
            <p:cNvSpPr txBox="1"/>
            <p:nvPr/>
          </p:nvSpPr>
          <p:spPr>
            <a:xfrm>
              <a:off x="7602949" y="472445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74F5D8C5-E311-D167-C40F-9C210B54277F}"/>
                </a:ext>
              </a:extLst>
            </p:cNvPr>
            <p:cNvSpPr txBox="1"/>
            <p:nvPr/>
          </p:nvSpPr>
          <p:spPr>
            <a:xfrm>
              <a:off x="5458671" y="3873329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50m</a:t>
              </a:r>
            </a:p>
          </p:txBody>
        </p:sp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08BB3F6D-F6D9-67BE-74A0-0B2386766C50}"/>
                </a:ext>
              </a:extLst>
            </p:cNvPr>
            <p:cNvCxnSpPr>
              <a:cxnSpLocks/>
              <a:stCxn id="7" idx="7"/>
              <a:endCxn id="8" idx="3"/>
            </p:cNvCxnSpPr>
            <p:nvPr/>
          </p:nvCxnSpPr>
          <p:spPr>
            <a:xfrm flipV="1">
              <a:off x="4886130" y="4146207"/>
              <a:ext cx="2220674" cy="15536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4FBA8381-D152-FFFE-77F6-54D044C22552}"/>
                </a:ext>
              </a:extLst>
            </p:cNvPr>
            <p:cNvSpPr txBox="1"/>
            <p:nvPr/>
          </p:nvSpPr>
          <p:spPr>
            <a:xfrm>
              <a:off x="5808862" y="4495838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30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414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69746-06DB-E8AC-E457-DE0CB9658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749580-EDCF-D898-1DED-6CC0E8306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E71D1F8-36C3-98E2-F7AA-AA0E31109B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3" y="1986345"/>
            <a:ext cx="10334119" cy="4190617"/>
          </a:xfrm>
        </p:spPr>
        <p:txBody>
          <a:bodyPr>
            <a:normAutofit/>
          </a:bodyPr>
          <a:lstStyle/>
          <a:p>
            <a:pPr algn="l">
              <a:buNone/>
            </a:pP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asso 7: "Encontra o 'casamento perfeito de peso mínimo'..."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F314A254-7F49-AC2D-9AF2-FFB58A7128F8}"/>
              </a:ext>
            </a:extLst>
          </p:cNvPr>
          <p:cNvGrpSpPr/>
          <p:nvPr/>
        </p:nvGrpSpPr>
        <p:grpSpPr>
          <a:xfrm>
            <a:off x="856727" y="2823542"/>
            <a:ext cx="4787391" cy="3353420"/>
            <a:chOff x="4131268" y="3429000"/>
            <a:chExt cx="4787391" cy="335342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2BCC5A7C-4ED4-5500-0B04-6A5EE797CEFE}"/>
                </a:ext>
              </a:extLst>
            </p:cNvPr>
            <p:cNvSpPr/>
            <p:nvPr/>
          </p:nvSpPr>
          <p:spPr>
            <a:xfrm>
              <a:off x="4131268" y="3884194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B</a:t>
              </a:r>
              <a:endParaRPr lang="pt-BR" b="1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E19C0A8D-1D81-5B8B-893E-C69CEF897F06}"/>
                </a:ext>
              </a:extLst>
            </p:cNvPr>
            <p:cNvSpPr/>
            <p:nvPr/>
          </p:nvSpPr>
          <p:spPr>
            <a:xfrm>
              <a:off x="4168923" y="5576789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C</a:t>
              </a:r>
              <a:endParaRPr lang="pt-BR" b="1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5E2B0C6-427D-A9F7-72F6-549F1D757396}"/>
                </a:ext>
              </a:extLst>
            </p:cNvPr>
            <p:cNvSpPr/>
            <p:nvPr/>
          </p:nvSpPr>
          <p:spPr>
            <a:xfrm>
              <a:off x="6983751" y="3429000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 err="1"/>
                <a:t>D</a:t>
              </a:r>
              <a:endParaRPr lang="pt-BR" b="1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328E28B9-D793-35AB-289A-494AE0DACDAF}"/>
                </a:ext>
              </a:extLst>
            </p:cNvPr>
            <p:cNvSpPr/>
            <p:nvPr/>
          </p:nvSpPr>
          <p:spPr>
            <a:xfrm>
              <a:off x="8078399" y="5942160"/>
              <a:ext cx="840260" cy="84026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200" b="1" dirty="0"/>
                <a:t>E</a:t>
              </a:r>
              <a:endParaRPr lang="pt-BR" b="1" dirty="0"/>
            </a:p>
          </p:txBody>
        </p:sp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6B4E9DC7-147C-A884-F041-7740497A93E5}"/>
                </a:ext>
              </a:extLst>
            </p:cNvPr>
            <p:cNvCxnSpPr>
              <a:cxnSpLocks/>
              <a:stCxn id="5" idx="5"/>
              <a:endCxn id="8" idx="1"/>
            </p:cNvCxnSpPr>
            <p:nvPr/>
          </p:nvCxnSpPr>
          <p:spPr>
            <a:xfrm>
              <a:off x="4848475" y="4601401"/>
              <a:ext cx="3352977" cy="14638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to 9">
              <a:extLst>
                <a:ext uri="{FF2B5EF4-FFF2-40B4-BE49-F238E27FC236}">
                  <a16:creationId xmlns:a16="http://schemas.microsoft.com/office/drawing/2014/main" id="{BFB142A4-E124-606C-2AFD-D1F24929A0E3}"/>
                </a:ext>
              </a:extLst>
            </p:cNvPr>
            <p:cNvCxnSpPr>
              <a:cxnSpLocks/>
              <a:stCxn id="6" idx="0"/>
              <a:endCxn id="5" idx="4"/>
            </p:cNvCxnSpPr>
            <p:nvPr/>
          </p:nvCxnSpPr>
          <p:spPr>
            <a:xfrm flipH="1" flipV="1">
              <a:off x="4551398" y="4724454"/>
              <a:ext cx="37655" cy="8523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10">
              <a:extLst>
                <a:ext uri="{FF2B5EF4-FFF2-40B4-BE49-F238E27FC236}">
                  <a16:creationId xmlns:a16="http://schemas.microsoft.com/office/drawing/2014/main" id="{D461F59B-784E-2104-2F23-0D66DE03D308}"/>
                </a:ext>
              </a:extLst>
            </p:cNvPr>
            <p:cNvCxnSpPr>
              <a:cxnSpLocks/>
              <a:stCxn id="7" idx="2"/>
              <a:endCxn id="5" idx="6"/>
            </p:cNvCxnSpPr>
            <p:nvPr/>
          </p:nvCxnSpPr>
          <p:spPr>
            <a:xfrm flipH="1">
              <a:off x="4971528" y="3849130"/>
              <a:ext cx="2012223" cy="4551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F3DD2CAD-8D32-F4F2-3FCF-F4AF953020CE}"/>
                </a:ext>
              </a:extLst>
            </p:cNvPr>
            <p:cNvCxnSpPr>
              <a:cxnSpLocks/>
              <a:stCxn id="6" idx="5"/>
              <a:endCxn id="8" idx="2"/>
            </p:cNvCxnSpPr>
            <p:nvPr/>
          </p:nvCxnSpPr>
          <p:spPr>
            <a:xfrm>
              <a:off x="4886130" y="6293996"/>
              <a:ext cx="3192269" cy="682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858B0492-3160-9147-481E-35D10F2E1C51}"/>
                </a:ext>
              </a:extLst>
            </p:cNvPr>
            <p:cNvCxnSpPr>
              <a:cxnSpLocks/>
              <a:stCxn id="8" idx="0"/>
              <a:endCxn id="7" idx="5"/>
            </p:cNvCxnSpPr>
            <p:nvPr/>
          </p:nvCxnSpPr>
          <p:spPr>
            <a:xfrm flipH="1" flipV="1">
              <a:off x="7700958" y="4146207"/>
              <a:ext cx="797571" cy="179595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1BE76E81-566F-B117-4D75-C7CE0DFD1A5E}"/>
                </a:ext>
              </a:extLst>
            </p:cNvPr>
            <p:cNvSpPr txBox="1"/>
            <p:nvPr/>
          </p:nvSpPr>
          <p:spPr>
            <a:xfrm>
              <a:off x="4144403" y="4871642"/>
              <a:ext cx="7409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80m</a:t>
              </a:r>
            </a:p>
          </p:txBody>
        </p:sp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D7A0FEF3-0C57-39A3-A48C-733C24C5B3BF}"/>
                </a:ext>
              </a:extLst>
            </p:cNvPr>
            <p:cNvSpPr txBox="1"/>
            <p:nvPr/>
          </p:nvSpPr>
          <p:spPr>
            <a:xfrm>
              <a:off x="6535551" y="5223910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50m</a:t>
              </a: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89D4C8C9-1FB8-4BBD-2BC7-C3933C874299}"/>
                </a:ext>
              </a:extLst>
            </p:cNvPr>
            <p:cNvSpPr txBox="1"/>
            <p:nvPr/>
          </p:nvSpPr>
          <p:spPr>
            <a:xfrm>
              <a:off x="6144101" y="6135949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00m</a:t>
              </a:r>
            </a:p>
          </p:txBody>
        </p: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5D635305-6C76-9E37-E09E-BA3A37A06379}"/>
                </a:ext>
              </a:extLst>
            </p:cNvPr>
            <p:cNvSpPr txBox="1"/>
            <p:nvPr/>
          </p:nvSpPr>
          <p:spPr>
            <a:xfrm>
              <a:off x="7602949" y="4724454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00m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91EC7B97-DE15-BA81-E376-38E488963D86}"/>
                </a:ext>
              </a:extLst>
            </p:cNvPr>
            <p:cNvSpPr txBox="1"/>
            <p:nvPr/>
          </p:nvSpPr>
          <p:spPr>
            <a:xfrm>
              <a:off x="5458671" y="3873329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150m</a:t>
              </a:r>
            </a:p>
          </p:txBody>
        </p:sp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B7B22C0C-BC8D-FA94-66FA-3A5FC32A7AE0}"/>
                </a:ext>
              </a:extLst>
            </p:cNvPr>
            <p:cNvCxnSpPr>
              <a:cxnSpLocks/>
              <a:stCxn id="6" idx="7"/>
              <a:endCxn id="7" idx="3"/>
            </p:cNvCxnSpPr>
            <p:nvPr/>
          </p:nvCxnSpPr>
          <p:spPr>
            <a:xfrm flipV="1">
              <a:off x="4886130" y="4146207"/>
              <a:ext cx="2220674" cy="15536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E1351674-D873-E985-C34C-3D89D883C543}"/>
                </a:ext>
              </a:extLst>
            </p:cNvPr>
            <p:cNvSpPr txBox="1"/>
            <p:nvPr/>
          </p:nvSpPr>
          <p:spPr>
            <a:xfrm>
              <a:off x="5808862" y="4495838"/>
              <a:ext cx="8963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400" dirty="0"/>
                <a:t>230m</a:t>
              </a:r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B87F4418-9D22-42AC-0027-40F68BF1D52C}"/>
              </a:ext>
            </a:extLst>
          </p:cNvPr>
          <p:cNvSpPr txBox="1"/>
          <p:nvPr/>
        </p:nvSpPr>
        <p:spPr>
          <a:xfrm>
            <a:off x="6225904" y="2742825"/>
            <a:ext cx="5805202" cy="26776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pt-BR" sz="2400" b="1" dirty="0"/>
              <a:t>Hipótese 1:  </a:t>
            </a:r>
            <a:r>
              <a:rPr lang="pt-BR" sz="2400" dirty="0"/>
              <a:t>Pareamos {B, C} e {D,E}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80 + 100 = 180</a:t>
            </a:r>
          </a:p>
          <a:p>
            <a:r>
              <a:rPr lang="pt-BR" sz="2400" b="1" dirty="0"/>
              <a:t>Hipótese 2: </a:t>
            </a:r>
            <a:r>
              <a:rPr lang="pt-BR" sz="2400" dirty="0"/>
              <a:t>Pareamos {B,D} e {C, E}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150 + 200 = 350</a:t>
            </a:r>
          </a:p>
          <a:p>
            <a:r>
              <a:rPr lang="pt-BR" sz="2400" b="1" dirty="0"/>
              <a:t>Hipótese 3: </a:t>
            </a:r>
            <a:r>
              <a:rPr lang="pt-BR" sz="2400" dirty="0"/>
              <a:t>Paremos {B,E} e {C,D}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400" dirty="0"/>
              <a:t>250 + 230 = 480</a:t>
            </a:r>
          </a:p>
          <a:p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933849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1" grpId="0" build="p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FE03B8-27DE-3FBE-CFE4-832C12B44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6FAF30-D2C8-95FD-AAFC-018C00AF8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blema do Carteiro Chinês (PCC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1E26184-43AD-52C2-42E6-F9672C0B4B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>
              <a:buNone/>
            </a:pP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asso 8: "Soma o custo desse casamento ao peso total original..."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dirty="0"/>
              <a:t>Custo Final = Custo Original + Custo do Casamento Mínimo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</a:t>
            </a:r>
            <a:r>
              <a:rPr lang="pt-BR" dirty="0"/>
              <a:t>Custo Final = 950 + 180 = </a:t>
            </a:r>
            <a:r>
              <a:rPr lang="pt-BR" b="1" dirty="0"/>
              <a:t>1130</a:t>
            </a:r>
          </a:p>
        </p:txBody>
      </p:sp>
    </p:spTree>
    <p:extLst>
      <p:ext uri="{BB962C8B-B14F-4D97-AF65-F5344CB8AC3E}">
        <p14:creationId xmlns:p14="http://schemas.microsoft.com/office/powerpoint/2010/main" val="983867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FBD4B3-FB9A-F848-70DB-0E1629E3A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eria um problema?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9F0FA5-D452-59D3-3E71-F36C71CB6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dirty="0"/>
              <a:t>Se tivéssemos um número ímpar de graus pares, como montar a etapa do casamento?</a:t>
            </a:r>
          </a:p>
          <a:p>
            <a:r>
              <a:rPr lang="pt-B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-webkit-standard"/>
              </a:rPr>
              <a:t>Em qualquer grafo, o número de vértices que possuem grau ímpar é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</a:rPr>
              <a:t>sempre par</a:t>
            </a:r>
            <a:r>
              <a:rPr lang="pt-BR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-webkit-standard"/>
              </a:rPr>
              <a:t>.</a:t>
            </a: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A soma dos graus de todos os vértices em um grafo é sempre igual ao dobro do número de arestas. </a:t>
            </a: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Como é o dobro de algo, o resultado final é sempre um número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par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.</a:t>
            </a:r>
          </a:p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A única maneira de a soma de vários números ímpares resultar em um número par é se houver uma </a:t>
            </a:r>
            <a:r>
              <a:rPr lang="pt-BR" b="1" i="0" u="none" strike="noStrike" dirty="0">
                <a:solidFill>
                  <a:srgbClr val="000000"/>
                </a:solidFill>
                <a:effectLst/>
              </a:rPr>
              <a:t>quantidade par</a:t>
            </a:r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de números na soma.</a:t>
            </a:r>
            <a:endParaRPr lang="pt-BR" b="1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79818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D0519C-43A6-33BD-47AC-1B6F42CEAB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BAA7D4-2B16-8034-3E87-4F74738E4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iclos </a:t>
            </a:r>
            <a:r>
              <a:rPr lang="pt-BR" b="1" dirty="0"/>
              <a:t>Hamiltoniano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00A6E80-E45A-05EA-ED93-95C59E8EC6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Enquanto os percursos de Euler se concentram em percorrer cada aresta de um grafo, os percursos de Hamilton lidam com </a:t>
            </a:r>
            <a:r>
              <a:rPr lang="pt-BR" b="1" dirty="0"/>
              <a:t>a travessia de cada vértice de um grafo</a:t>
            </a:r>
            <a:r>
              <a:rPr lang="pt-BR" dirty="0"/>
              <a:t>. </a:t>
            </a:r>
          </a:p>
          <a:p>
            <a:r>
              <a:rPr lang="pt-BR" dirty="0"/>
              <a:t>O problema aqui é </a:t>
            </a:r>
            <a:r>
              <a:rPr lang="pt-BR" b="1" dirty="0"/>
              <a:t>tentar construir um percurso (fechado) tal que cada vértice seja visitado exatamente uma vez</a:t>
            </a:r>
            <a:r>
              <a:rPr lang="pt-B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039354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53FE3-69A5-0E8C-6A6E-EC4EBF324D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AA7271-DF41-BA91-2247-B04EEBE9A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iclos </a:t>
            </a:r>
            <a:r>
              <a:rPr lang="pt-BR" b="1" dirty="0"/>
              <a:t>Hamiltoniano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68A901D-EE5D-0E02-F335-ADAC8EB0AB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Começamos definindo precisamente o que é um </a:t>
            </a:r>
            <a:r>
              <a:rPr lang="pt-BR" b="1" dirty="0"/>
              <a:t>grafo hamiltoniano:</a:t>
            </a:r>
          </a:p>
          <a:p>
            <a:pPr lvl="1"/>
            <a:r>
              <a:rPr lang="pt-BR" sz="2800" dirty="0"/>
              <a:t>Considere um grafo conectado G. </a:t>
            </a:r>
          </a:p>
          <a:p>
            <a:pPr lvl="1"/>
            <a:r>
              <a:rPr lang="pt-BR" sz="2800" dirty="0"/>
              <a:t>Um ciclo hamiltoniano é um ciclo que contém todos os vértices de G. </a:t>
            </a:r>
          </a:p>
          <a:p>
            <a:pPr lvl="1"/>
            <a:r>
              <a:rPr lang="pt-BR" sz="2800" dirty="0"/>
              <a:t>Cada vértice é visitado </a:t>
            </a:r>
            <a:r>
              <a:rPr lang="pt-BR" sz="2800" b="1" dirty="0"/>
              <a:t>exatamente uma vez</a:t>
            </a:r>
            <a:r>
              <a:rPr lang="pt-BR" sz="2800" dirty="0"/>
              <a:t>, com exceção do vértice inicial, que também é o vértice final para fechar o ciclo</a:t>
            </a:r>
          </a:p>
          <a:p>
            <a:pPr lvl="1"/>
            <a:r>
              <a:rPr lang="pt-BR" sz="2800" dirty="0" err="1"/>
              <a:t>G</a:t>
            </a:r>
            <a:r>
              <a:rPr lang="pt-BR" sz="2800" dirty="0"/>
              <a:t> é chamado hamiltoniano se tiver um ciclo hamiltoniano</a:t>
            </a:r>
          </a:p>
        </p:txBody>
      </p:sp>
    </p:spTree>
    <p:extLst>
      <p:ext uri="{BB962C8B-B14F-4D97-AF65-F5344CB8AC3E}">
        <p14:creationId xmlns:p14="http://schemas.microsoft.com/office/powerpoint/2010/main" val="157435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419F83-6BBB-FFD9-1FCE-992D3E5D3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0F08D4-6521-8457-9C58-FA5B317C6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iclos </a:t>
            </a:r>
            <a:r>
              <a:rPr lang="pt-BR" b="1" dirty="0"/>
              <a:t>Hamiltoniano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6743C17-F4C7-9012-530B-B12AC084B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O que torna a questão dos grafos hamiltonianos tão difícil é que, em contraste com os percursos de Euler, </a:t>
            </a:r>
            <a:r>
              <a:rPr lang="pt-BR" b="1" dirty="0"/>
              <a:t>não há nenhum procedimento eficiente conhecido pelo qual se possa</a:t>
            </a:r>
            <a:r>
              <a:rPr lang="pt-BR" dirty="0"/>
              <a:t>, em geral, </a:t>
            </a:r>
            <a:r>
              <a:rPr lang="pt-BR" b="1" dirty="0"/>
              <a:t>determinar se um grafo é hamiltoniano ou não</a:t>
            </a:r>
            <a:r>
              <a:rPr lang="pt-BR" dirty="0"/>
              <a:t>. </a:t>
            </a:r>
          </a:p>
          <a:p>
            <a:r>
              <a:rPr lang="pt-BR" dirty="0"/>
              <a:t>Por outro lado, </a:t>
            </a:r>
            <a:r>
              <a:rPr lang="pt-BR" b="1" dirty="0"/>
              <a:t>é importante encontrar ciclos de Hamilton, ou trilhas fechadas que minimizem o número de visitas duplicadas a um vértice</a:t>
            </a:r>
            <a:r>
              <a:rPr lang="pt-B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53229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DFF9CE-2C3F-F1DE-4DE5-62B79A9C01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69A4F9-FFFF-F43F-E8EE-05FA10DFA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O Problema do Caixeiro-Viajante (PCV)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C0404FD-841D-3795-195E-00A267AE2E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dirty="0"/>
              <a:t>Dado um conjunto de cidades (locais) e as distâncias entre cada par delas, </a:t>
            </a:r>
            <a:r>
              <a:rPr lang="pt-BR" b="1" dirty="0"/>
              <a:t>qual é a rota mais curta possível que visita cada cidade exatamente uma vez e retorna à cidade original</a:t>
            </a:r>
            <a:r>
              <a:rPr lang="pt-BR" dirty="0"/>
              <a:t>?</a:t>
            </a:r>
          </a:p>
          <a:p>
            <a:r>
              <a:rPr lang="pt-BR" dirty="0"/>
              <a:t>O objetivo é </a:t>
            </a:r>
            <a:r>
              <a:rPr lang="pt-BR" b="1" dirty="0"/>
              <a:t>visitar todos os VÉRTICES </a:t>
            </a:r>
            <a:r>
              <a:rPr lang="pt-BR" dirty="0"/>
              <a:t>(locais/clientes). </a:t>
            </a:r>
          </a:p>
          <a:p>
            <a:r>
              <a:rPr lang="pt-BR" b="1" dirty="0"/>
              <a:t>Ruas</a:t>
            </a:r>
            <a:r>
              <a:rPr lang="pt-BR" dirty="0"/>
              <a:t> que não levam a um cliente podem (e devem) ser </a:t>
            </a:r>
            <a:r>
              <a:rPr lang="pt-BR" b="1" dirty="0"/>
              <a:t>ignoradas se não fizerem parte do caminho mais curto</a:t>
            </a:r>
            <a:r>
              <a:rPr lang="pt-BR" dirty="0"/>
              <a:t>.</a:t>
            </a:r>
          </a:p>
          <a:p>
            <a:r>
              <a:rPr lang="pt-BR" dirty="0"/>
              <a:t>O objetivo é encontrar um </a:t>
            </a:r>
            <a:r>
              <a:rPr lang="pt-BR" dirty="0" err="1"/>
              <a:t>subgrafo</a:t>
            </a:r>
            <a:r>
              <a:rPr lang="pt-BR" dirty="0"/>
              <a:t> hamiltoniano ponderado mínimo, ou seja</a:t>
            </a:r>
            <a:r>
              <a:rPr lang="pt-BR" b="1" dirty="0"/>
              <a:t>, encontrar a rota mais curta que visita cada local uma vez e retorna ao início</a:t>
            </a:r>
            <a:r>
              <a:rPr lang="pt-BR" dirty="0"/>
              <a:t>, após expandir o grafo para levar em conta a travessia de uma aresta mais de uma vez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5351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47E1E3-7CE7-98F0-A721-F3EF57B9A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Passeio fechado </a:t>
            </a:r>
            <a:r>
              <a:rPr lang="pt-BR" dirty="0"/>
              <a:t>(close </a:t>
            </a:r>
            <a:r>
              <a:rPr lang="pt-BR" dirty="0" err="1"/>
              <a:t>walk</a:t>
            </a:r>
            <a:r>
              <a:rPr lang="pt-BR" dirty="0"/>
              <a:t>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C8F3E5C-3821-082A-8C9F-E02EF68A73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Temos um passeio fechado quando </a:t>
            </a:r>
            <a:r>
              <a:rPr lang="pt-BR" b="1" dirty="0"/>
              <a:t>os vértices de origem e destino são idênticos</a:t>
            </a:r>
            <a:r>
              <a:rPr lang="pt-BR" dirty="0"/>
              <a:t>, ou seja, se um passeio começa e termina no mesmo vértice.</a:t>
            </a:r>
          </a:p>
        </p:txBody>
      </p:sp>
      <p:pic>
        <p:nvPicPr>
          <p:cNvPr id="5" name="Imagem 4" descr="Diagrama&#10;&#10;O conteúdo gerado por IA pode estar incorreto.">
            <a:extLst>
              <a:ext uri="{FF2B5EF4-FFF2-40B4-BE49-F238E27FC236}">
                <a16:creationId xmlns:a16="http://schemas.microsoft.com/office/drawing/2014/main" id="{32E4E8A1-C2C0-0F18-FA18-E1E30DC03B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7662" y="3690912"/>
            <a:ext cx="6122162" cy="175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085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393FE5-09DA-D7C4-1EBB-17F4AFF1A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O Problema do Caixeiro-Viajante (PCV)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15D9664-EB19-382E-F7FA-CC188EDB79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Diferente do Problema do Carteiro Chinês (que tem uma solução eficiente), o PCV é classificado como NP-difícil.</a:t>
            </a:r>
          </a:p>
          <a:p>
            <a:r>
              <a:rPr lang="pt-BR" dirty="0"/>
              <a:t>Não existe nenhum algoritmo conhecido que encontre a solução ótima garantida de forma rápida para um grande número de locais.</a:t>
            </a:r>
          </a:p>
          <a:p>
            <a:r>
              <a:rPr lang="pt-BR" dirty="0"/>
              <a:t>O número de rotas possíveis cresce de forma fatorial. Para </a:t>
            </a:r>
            <a:r>
              <a:rPr lang="pt-BR" dirty="0" err="1"/>
              <a:t>n</a:t>
            </a:r>
            <a:r>
              <a:rPr lang="pt-BR" dirty="0"/>
              <a:t> locais, existem (n-1)! / 2 rotas possíveis.</a:t>
            </a:r>
          </a:p>
          <a:p>
            <a:pPr lvl="1"/>
            <a:r>
              <a:rPr lang="pt-BR" sz="2800" dirty="0"/>
              <a:t>Para 5 locais: 12 rotas.</a:t>
            </a:r>
          </a:p>
          <a:p>
            <a:pPr lvl="1"/>
            <a:r>
              <a:rPr lang="pt-BR" sz="2800" dirty="0"/>
              <a:t>Para 10 locais: 181.440 rotas. </a:t>
            </a:r>
          </a:p>
          <a:p>
            <a:pPr lvl="1"/>
            <a:r>
              <a:rPr lang="pt-BR" sz="2800" dirty="0"/>
              <a:t>Para 20 locais: mais de 60 quatrilhões de rotas. 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99828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D900DA-0D30-49A5-2E50-3F6E3FBFD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O Problema do Caixeiro-Viajante (PCV)</a:t>
            </a:r>
            <a:endParaRPr lang="pt-BR" dirty="0"/>
          </a:p>
        </p:txBody>
      </p:sp>
      <p:pic>
        <p:nvPicPr>
          <p:cNvPr id="5" name="Espaço Reservado para Conteúdo 4" descr="Gráfico, Gráfico de radar&#10;&#10;O conteúdo gerado por IA pode estar incorreto.">
            <a:extLst>
              <a:ext uri="{FF2B5EF4-FFF2-40B4-BE49-F238E27FC236}">
                <a16:creationId xmlns:a16="http://schemas.microsoft.com/office/drawing/2014/main" id="{DFB61835-DF99-386F-1BB4-864E38FD08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168942" y="271463"/>
            <a:ext cx="8445511" cy="6535060"/>
          </a:xfrm>
        </p:spPr>
      </p:pic>
    </p:spTree>
    <p:extLst>
      <p:ext uri="{BB962C8B-B14F-4D97-AF65-F5344CB8AC3E}">
        <p14:creationId xmlns:p14="http://schemas.microsoft.com/office/powerpoint/2010/main" val="27564179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0D717E-F6C6-D9C8-CB2E-E218FD4F1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eorema de </a:t>
            </a:r>
            <a:r>
              <a:rPr lang="pt-BR" b="1" dirty="0"/>
              <a:t>Dirac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E05D22E-DDBC-632B-D6E9-A3CE0814D6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Se não podemos testar eficientemente se qualquer grafo é hamiltoniano, podemos pelo menos garantir que alguns tipos de grafos o sejam.</a:t>
            </a:r>
          </a:p>
          <a:p>
            <a:r>
              <a:rPr lang="pt-BR" dirty="0"/>
              <a:t>O Teorema de </a:t>
            </a:r>
            <a:r>
              <a:rPr lang="pt-BR" b="1" dirty="0"/>
              <a:t>Dirac fornece uma condição suficiente para um grafo ser hamiltoniano</a:t>
            </a:r>
            <a:r>
              <a:rPr lang="pt-BR" dirty="0"/>
              <a:t>. </a:t>
            </a:r>
          </a:p>
          <a:p>
            <a:r>
              <a:rPr lang="pt-BR" dirty="0"/>
              <a:t>Ele </a:t>
            </a:r>
            <a:r>
              <a:rPr lang="pt-BR" b="1" dirty="0"/>
              <a:t>não resolve o problema geral </a:t>
            </a:r>
            <a:r>
              <a:rPr lang="pt-BR" dirty="0"/>
              <a:t>(que continua sendo NP-completo), mas nos dá </a:t>
            </a:r>
            <a:r>
              <a:rPr lang="pt-BR" b="1" dirty="0"/>
              <a:t>uma regra prática para identificar uma classe de grafos que garantidamente possuem um ciclo de Hamilton</a:t>
            </a:r>
            <a:r>
              <a:rPr lang="pt-BR" dirty="0"/>
              <a:t>.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3957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782976F-705B-6508-55AE-5F817DC2A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eorema de </a:t>
            </a:r>
            <a:r>
              <a:rPr lang="pt-BR" b="1" dirty="0"/>
              <a:t>Dirac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8C4C8E3-E9DA-7C74-6C9F-38362ACC1A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None/>
            </a:pPr>
            <a:r>
              <a:rPr lang="pt-BR" b="0" i="0" u="none" strike="noStrike" dirty="0">
                <a:solidFill>
                  <a:srgbClr val="000000"/>
                </a:solidFill>
                <a:effectLst/>
              </a:rPr>
              <a:t>O teorema afirma que:</a:t>
            </a:r>
          </a:p>
          <a:p>
            <a:pPr lvl="1"/>
            <a:r>
              <a:rPr lang="pt-BR" sz="2800" dirty="0"/>
              <a:t>Se um grafo </a:t>
            </a:r>
            <a:r>
              <a:rPr lang="pt-BR" sz="2800" dirty="0" err="1"/>
              <a:t>G</a:t>
            </a:r>
            <a:r>
              <a:rPr lang="pt-BR" sz="2800" dirty="0"/>
              <a:t> simples com </a:t>
            </a:r>
            <a:r>
              <a:rPr lang="pt-BR" sz="2800" b="1" dirty="0" err="1"/>
              <a:t>n</a:t>
            </a:r>
            <a:r>
              <a:rPr lang="pt-BR" sz="2800" dirty="0"/>
              <a:t> vértices (onde </a:t>
            </a:r>
            <a:r>
              <a:rPr lang="pt-BR" sz="2800" dirty="0" err="1"/>
              <a:t>n</a:t>
            </a:r>
            <a:r>
              <a:rPr lang="pt-BR" sz="2800" dirty="0"/>
              <a:t> ≥ 3) tem um grau mínimo </a:t>
            </a:r>
            <a:r>
              <a:rPr lang="el-GR" sz="2800" b="1" dirty="0"/>
              <a:t>δ(</a:t>
            </a:r>
            <a:r>
              <a:rPr lang="pt-BR" sz="2800" b="1" dirty="0" err="1"/>
              <a:t>G</a:t>
            </a:r>
            <a:r>
              <a:rPr lang="pt-BR" sz="2800" b="1" dirty="0"/>
              <a:t>) ≥ </a:t>
            </a:r>
            <a:r>
              <a:rPr lang="pt-BR" sz="2800" b="1" dirty="0" err="1"/>
              <a:t>n</a:t>
            </a:r>
            <a:r>
              <a:rPr lang="pt-BR" sz="2800" b="1" dirty="0"/>
              <a:t> / 2</a:t>
            </a:r>
            <a:r>
              <a:rPr lang="pt-BR" sz="2800" dirty="0"/>
              <a:t>, então o grafo </a:t>
            </a:r>
            <a:r>
              <a:rPr lang="pt-BR" sz="2800" dirty="0" err="1"/>
              <a:t>G</a:t>
            </a:r>
            <a:r>
              <a:rPr lang="pt-BR" sz="2800" dirty="0"/>
              <a:t> é hamiltoniano.</a:t>
            </a:r>
          </a:p>
          <a:p>
            <a:pPr lvl="1"/>
            <a:r>
              <a:rPr lang="pt-BR" sz="28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Se a condição (</a:t>
            </a:r>
            <a:r>
              <a:rPr lang="el-GR" sz="28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δ(</a:t>
            </a:r>
            <a:r>
              <a:rPr lang="pt-BR" sz="2800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G</a:t>
            </a:r>
            <a:r>
              <a:rPr lang="pt-BR" sz="28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) ≥ </a:t>
            </a:r>
            <a:r>
              <a:rPr lang="pt-BR" sz="2800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n</a:t>
            </a:r>
            <a:r>
              <a:rPr lang="pt-BR" sz="28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/2) for verdadeira, isso é </a:t>
            </a:r>
            <a:r>
              <a:rPr lang="pt-BR" sz="2800" b="0" i="1" u="none" strike="noStrike" dirty="0">
                <a:solidFill>
                  <a:srgbClr val="000000"/>
                </a:solidFill>
                <a:effectLst/>
              </a:rPr>
              <a:t>suficiente</a:t>
            </a:r>
            <a:r>
              <a:rPr lang="pt-BR" sz="28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 para provar que o grafo é hamiltoniano.</a:t>
            </a:r>
          </a:p>
          <a:p>
            <a:pPr lvl="1"/>
            <a:r>
              <a:rPr lang="pt-BR" sz="28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Se a condição for falsa, o teorema </a:t>
            </a:r>
            <a:r>
              <a:rPr lang="pt-BR" sz="2800" b="1" i="0" u="none" strike="noStrike" dirty="0">
                <a:solidFill>
                  <a:srgbClr val="000000"/>
                </a:solidFill>
                <a:effectLst/>
              </a:rPr>
              <a:t>não nos diz nada</a:t>
            </a:r>
            <a:r>
              <a:rPr lang="pt-BR" sz="2800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. O grafo pode ou não ser hamiltoniano.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4148468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BBEF67-3A24-0B73-BF97-5EDEB1CA8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xemplo 1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6D9399C-022A-60A5-9A89-6511E4D57C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6610608" cy="4190617"/>
          </a:xfrm>
        </p:spPr>
        <p:txBody>
          <a:bodyPr>
            <a:normAutofit/>
          </a:bodyPr>
          <a:lstStyle/>
          <a:p>
            <a:r>
              <a:rPr lang="pt-BR" dirty="0"/>
              <a:t>Considere o grafo ao lado.</a:t>
            </a:r>
          </a:p>
          <a:p>
            <a:r>
              <a:rPr lang="pt-BR" dirty="0"/>
              <a:t>A condição de Dirac exige que </a:t>
            </a:r>
            <a:r>
              <a:rPr lang="el-GR" b="1" dirty="0"/>
              <a:t>δ(</a:t>
            </a:r>
            <a:r>
              <a:rPr lang="pt-BR" b="1" dirty="0" err="1"/>
              <a:t>G</a:t>
            </a:r>
            <a:r>
              <a:rPr lang="pt-BR" b="1" dirty="0"/>
              <a:t>) ≥ </a:t>
            </a:r>
            <a:r>
              <a:rPr lang="pt-BR" b="1" dirty="0" err="1"/>
              <a:t>n</a:t>
            </a:r>
            <a:r>
              <a:rPr lang="pt-BR" b="1" dirty="0"/>
              <a:t> / 2</a:t>
            </a:r>
            <a:r>
              <a:rPr lang="pt-BR" dirty="0"/>
              <a:t>, </a:t>
            </a:r>
          </a:p>
          <a:p>
            <a:r>
              <a:rPr lang="pt-BR" dirty="0"/>
              <a:t>Nesse grafo, cada vértice tem grau 2.</a:t>
            </a:r>
          </a:p>
          <a:p>
            <a:r>
              <a:rPr lang="pt-BR" dirty="0"/>
              <a:t>O grau mínimo 2, deveria ser ≥ 5 / 2 = 2.5.</a:t>
            </a:r>
          </a:p>
          <a:p>
            <a:r>
              <a:rPr lang="pt-BR" dirty="0"/>
              <a:t>Como 2 não é ≥ 2.5, o Teorema de Dirac não se aplica.</a:t>
            </a:r>
          </a:p>
          <a:p>
            <a:r>
              <a:rPr lang="pt-BR" dirty="0"/>
              <a:t>No entanto, o grafo é obviamente hamiltoniano.</a:t>
            </a:r>
          </a:p>
        </p:txBody>
      </p:sp>
      <p:sp>
        <p:nvSpPr>
          <p:cNvPr id="4" name="Pentágono Regular 3">
            <a:extLst>
              <a:ext uri="{FF2B5EF4-FFF2-40B4-BE49-F238E27FC236}">
                <a16:creationId xmlns:a16="http://schemas.microsoft.com/office/drawing/2014/main" id="{9061C238-81C9-B473-77C3-D9EB97D7A6DF}"/>
              </a:ext>
            </a:extLst>
          </p:cNvPr>
          <p:cNvSpPr/>
          <p:nvPr/>
        </p:nvSpPr>
        <p:spPr>
          <a:xfrm>
            <a:off x="7599406" y="1902253"/>
            <a:ext cx="3719383" cy="3542270"/>
          </a:xfrm>
          <a:prstGeom prst="pentagon">
            <a:avLst/>
          </a:prstGeom>
          <a:noFill/>
          <a:ln>
            <a:solidFill>
              <a:srgbClr val="1E1E2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0009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4BA6C4-9E65-627D-B73C-A0B9BE5BA5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C36704-4B7F-6F94-DE9D-BF9C13DB3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xemplo 2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29353B8-2708-9756-B61E-59EB75A94C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6610608" cy="4190617"/>
          </a:xfrm>
        </p:spPr>
        <p:txBody>
          <a:bodyPr>
            <a:normAutofit/>
          </a:bodyPr>
          <a:lstStyle/>
          <a:p>
            <a:r>
              <a:rPr lang="pt-BR" dirty="0"/>
              <a:t>Considere o grafo ao lado.</a:t>
            </a:r>
          </a:p>
          <a:p>
            <a:r>
              <a:rPr lang="pt-BR" dirty="0"/>
              <a:t>A condição de Dirac exige que </a:t>
            </a:r>
            <a:r>
              <a:rPr lang="el-GR" b="1" dirty="0"/>
              <a:t>δ(</a:t>
            </a:r>
            <a:r>
              <a:rPr lang="pt-BR" b="1" dirty="0" err="1"/>
              <a:t>G</a:t>
            </a:r>
            <a:r>
              <a:rPr lang="pt-BR" b="1" dirty="0"/>
              <a:t>) ≥ </a:t>
            </a:r>
            <a:r>
              <a:rPr lang="pt-BR" b="1" dirty="0" err="1"/>
              <a:t>n</a:t>
            </a:r>
            <a:r>
              <a:rPr lang="pt-BR" b="1" dirty="0"/>
              <a:t> / 2</a:t>
            </a:r>
            <a:r>
              <a:rPr lang="pt-BR" dirty="0"/>
              <a:t>, </a:t>
            </a:r>
          </a:p>
          <a:p>
            <a:r>
              <a:rPr lang="pt-BR" dirty="0"/>
              <a:t>O grau mínimo 3 é ≥ 5 / 2 = 2.5.</a:t>
            </a:r>
          </a:p>
          <a:p>
            <a:r>
              <a:rPr lang="pt-BR"/>
              <a:t>Por isso, o </a:t>
            </a:r>
            <a:r>
              <a:rPr lang="pt-BR" dirty="0"/>
              <a:t>grafo é obviamente hamiltoniano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E30CD9-3EC1-B4EC-C9CB-88BAA9F8A376}"/>
              </a:ext>
            </a:extLst>
          </p:cNvPr>
          <p:cNvSpPr/>
          <p:nvPr/>
        </p:nvSpPr>
        <p:spPr>
          <a:xfrm>
            <a:off x="9279924" y="1628388"/>
            <a:ext cx="630195" cy="6301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31A114-2422-555A-A849-544527B5E2C8}"/>
              </a:ext>
            </a:extLst>
          </p:cNvPr>
          <p:cNvSpPr/>
          <p:nvPr/>
        </p:nvSpPr>
        <p:spPr>
          <a:xfrm>
            <a:off x="9279923" y="5045720"/>
            <a:ext cx="630195" cy="6301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AC2A484-7E06-8AE1-59F9-24B8AD2CBBFC}"/>
              </a:ext>
            </a:extLst>
          </p:cNvPr>
          <p:cNvSpPr/>
          <p:nvPr/>
        </p:nvSpPr>
        <p:spPr>
          <a:xfrm>
            <a:off x="10768913" y="3336710"/>
            <a:ext cx="630195" cy="6301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6C4C79E-CD72-0ACC-4B51-5020A9A0879C}"/>
              </a:ext>
            </a:extLst>
          </p:cNvPr>
          <p:cNvSpPr/>
          <p:nvPr/>
        </p:nvSpPr>
        <p:spPr>
          <a:xfrm>
            <a:off x="7957750" y="3312684"/>
            <a:ext cx="630195" cy="6301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7B72ECF-68F0-0D2D-2256-4848F3F3EB11}"/>
              </a:ext>
            </a:extLst>
          </p:cNvPr>
          <p:cNvSpPr/>
          <p:nvPr/>
        </p:nvSpPr>
        <p:spPr>
          <a:xfrm>
            <a:off x="9279923" y="3336710"/>
            <a:ext cx="630195" cy="6301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3CA86D6C-3106-A680-E1CB-619DFD89B0A3}"/>
              </a:ext>
            </a:extLst>
          </p:cNvPr>
          <p:cNvCxnSpPr>
            <a:stCxn id="5" idx="4"/>
            <a:endCxn id="9" idx="0"/>
          </p:cNvCxnSpPr>
          <p:nvPr/>
        </p:nvCxnSpPr>
        <p:spPr>
          <a:xfrm flipH="1">
            <a:off x="9595021" y="2258583"/>
            <a:ext cx="1" cy="10781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CE2D81C2-5A24-FBB4-4AC7-B9CA10A1C846}"/>
              </a:ext>
            </a:extLst>
          </p:cNvPr>
          <p:cNvCxnSpPr>
            <a:cxnSpLocks/>
            <a:stCxn id="7" idx="2"/>
            <a:endCxn id="9" idx="6"/>
          </p:cNvCxnSpPr>
          <p:nvPr/>
        </p:nvCxnSpPr>
        <p:spPr>
          <a:xfrm flipH="1">
            <a:off x="9910118" y="3651808"/>
            <a:ext cx="8587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E6735323-8A00-22E9-6810-6A986B6F95A1}"/>
              </a:ext>
            </a:extLst>
          </p:cNvPr>
          <p:cNvCxnSpPr>
            <a:cxnSpLocks/>
            <a:stCxn id="8" idx="6"/>
          </p:cNvCxnSpPr>
          <p:nvPr/>
        </p:nvCxnSpPr>
        <p:spPr>
          <a:xfrm>
            <a:off x="8587945" y="3627782"/>
            <a:ext cx="858795" cy="240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B6EA16F6-8AE5-BC33-9903-7DF677106176}"/>
              </a:ext>
            </a:extLst>
          </p:cNvPr>
          <p:cNvCxnSpPr>
            <a:cxnSpLocks/>
            <a:stCxn id="9" idx="4"/>
            <a:endCxn id="6" idx="0"/>
          </p:cNvCxnSpPr>
          <p:nvPr/>
        </p:nvCxnSpPr>
        <p:spPr>
          <a:xfrm>
            <a:off x="9595021" y="3966905"/>
            <a:ext cx="0" cy="10788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1126C31B-ACF3-D876-AD53-7F3495F65336}"/>
              </a:ext>
            </a:extLst>
          </p:cNvPr>
          <p:cNvCxnSpPr>
            <a:cxnSpLocks/>
            <a:stCxn id="7" idx="4"/>
            <a:endCxn id="6" idx="6"/>
          </p:cNvCxnSpPr>
          <p:nvPr/>
        </p:nvCxnSpPr>
        <p:spPr>
          <a:xfrm flipH="1">
            <a:off x="9910118" y="3966905"/>
            <a:ext cx="1173893" cy="13939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02776AA0-72B6-0F4A-26E5-27FD0ED96E7E}"/>
              </a:ext>
            </a:extLst>
          </p:cNvPr>
          <p:cNvCxnSpPr>
            <a:cxnSpLocks/>
            <a:stCxn id="5" idx="5"/>
            <a:endCxn id="7" idx="1"/>
          </p:cNvCxnSpPr>
          <p:nvPr/>
        </p:nvCxnSpPr>
        <p:spPr>
          <a:xfrm>
            <a:off x="9817829" y="2166293"/>
            <a:ext cx="1043374" cy="12627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1CC9D9F0-C873-2A3C-83B7-CCCB2ECB72FE}"/>
              </a:ext>
            </a:extLst>
          </p:cNvPr>
          <p:cNvCxnSpPr>
            <a:cxnSpLocks/>
            <a:stCxn id="5" idx="3"/>
            <a:endCxn id="8" idx="7"/>
          </p:cNvCxnSpPr>
          <p:nvPr/>
        </p:nvCxnSpPr>
        <p:spPr>
          <a:xfrm flipH="1">
            <a:off x="8495655" y="2166293"/>
            <a:ext cx="876559" cy="12386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6AF8E280-8663-1DD5-9E8A-C92678A722A6}"/>
              </a:ext>
            </a:extLst>
          </p:cNvPr>
          <p:cNvCxnSpPr>
            <a:cxnSpLocks/>
            <a:stCxn id="8" idx="5"/>
          </p:cNvCxnSpPr>
          <p:nvPr/>
        </p:nvCxnSpPr>
        <p:spPr>
          <a:xfrm>
            <a:off x="8495655" y="3850589"/>
            <a:ext cx="951085" cy="15102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579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1B67B-6797-C527-F0BC-12DD3BA76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2075ADF9-4F74-4506-2C0B-4330A378A9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561"/>
          <a:stretch/>
        </p:blipFill>
        <p:spPr>
          <a:xfrm>
            <a:off x="-1" y="5985"/>
            <a:ext cx="12203113" cy="5242381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DAEB4A-E8EC-5CD6-D21F-DD2E56AEF9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DAEB4A-E8EC-5CD6-D21F-DD2E56AEF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CF9EF2F-82F4-29F1-7EC8-0CCD969DA023}"/>
              </a:ext>
            </a:extLst>
          </p:cNvPr>
          <p:cNvSpPr/>
          <p:nvPr/>
        </p:nvSpPr>
        <p:spPr>
          <a:xfrm>
            <a:off x="8798" y="0"/>
            <a:ext cx="12192000" cy="5257800"/>
          </a:xfrm>
          <a:prstGeom prst="rect">
            <a:avLst/>
          </a:prstGeom>
          <a:solidFill>
            <a:srgbClr val="000000">
              <a:alpha val="7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32" name="Picture 8" descr="Graph Neural Networks (GraphSAGE) | by Gautam Choudhary | Medium">
            <a:extLst>
              <a:ext uri="{FF2B5EF4-FFF2-40B4-BE49-F238E27FC236}">
                <a16:creationId xmlns:a16="http://schemas.microsoft.com/office/drawing/2014/main" id="{98E52DA5-7F16-0E50-6084-F7C7691F5F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19" y="580253"/>
            <a:ext cx="5452899" cy="4308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EB42E5FA-3B3B-B5A9-E34D-D1FF87074D05}"/>
              </a:ext>
            </a:extLst>
          </p:cNvPr>
          <p:cNvSpPr txBox="1">
            <a:spLocks/>
          </p:cNvSpPr>
          <p:nvPr/>
        </p:nvSpPr>
        <p:spPr>
          <a:xfrm>
            <a:off x="6319584" y="2724908"/>
            <a:ext cx="5452900" cy="2528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7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ÚVIDAS</a:t>
            </a:r>
          </a:p>
        </p:txBody>
      </p:sp>
    </p:spTree>
    <p:extLst>
      <p:ext uri="{BB962C8B-B14F-4D97-AF65-F5344CB8AC3E}">
        <p14:creationId xmlns:p14="http://schemas.microsoft.com/office/powerpoint/2010/main" val="1343257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91BFB6E-BE7E-C0CD-92E5-E9A099233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Comprimento</a:t>
            </a:r>
            <a:r>
              <a:rPr lang="pt-BR" dirty="0"/>
              <a:t> do passei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8C9C995-3CFB-DD0E-0D7D-ACC71FFBDF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b="1" dirty="0"/>
              <a:t>O comprimento (</a:t>
            </a:r>
            <a:r>
              <a:rPr lang="pt-BR" b="1" dirty="0" err="1"/>
              <a:t>length</a:t>
            </a:r>
            <a:r>
              <a:rPr lang="pt-BR" b="1" dirty="0"/>
              <a:t>) de um passeio </a:t>
            </a:r>
            <a:r>
              <a:rPr lang="pt-BR" dirty="0"/>
              <a:t>é obtido pela </a:t>
            </a:r>
            <a:r>
              <a:rPr lang="pt-BR" b="1" dirty="0"/>
              <a:t>quantidade de arestas que fazem parte dele</a:t>
            </a:r>
            <a:r>
              <a:rPr lang="pt-BR" dirty="0"/>
              <a:t>. </a:t>
            </a:r>
          </a:p>
          <a:p>
            <a:r>
              <a:rPr lang="pt-BR" dirty="0"/>
              <a:t>Quando temos um caminho em que os </a:t>
            </a:r>
            <a:r>
              <a:rPr lang="pt-BR" b="1" dirty="0"/>
              <a:t>vértices não se repetem</a:t>
            </a:r>
            <a:r>
              <a:rPr lang="pt-BR" dirty="0"/>
              <a:t>, então o comprimento dele é obtido através da quantidade de vértices menos um: </a:t>
            </a:r>
            <a:r>
              <a:rPr lang="pt-BR" b="1" dirty="0"/>
              <a:t>|V| − 1. </a:t>
            </a:r>
          </a:p>
        </p:txBody>
      </p:sp>
    </p:spTree>
    <p:extLst>
      <p:ext uri="{BB962C8B-B14F-4D97-AF65-F5344CB8AC3E}">
        <p14:creationId xmlns:p14="http://schemas.microsoft.com/office/powerpoint/2010/main" val="1146288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724129-66AE-C8D2-8DC1-65F6382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Trilha</a:t>
            </a:r>
            <a:r>
              <a:rPr lang="pt-BR" dirty="0"/>
              <a:t> (</a:t>
            </a:r>
            <a:r>
              <a:rPr lang="pt-BR" dirty="0" err="1"/>
              <a:t>trail</a:t>
            </a:r>
            <a:r>
              <a:rPr lang="pt-BR" dirty="0"/>
              <a:t>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0EBC828-56B8-2CE4-D8DD-D7E950DE85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6380493" cy="4190617"/>
          </a:xfrm>
        </p:spPr>
        <p:txBody>
          <a:bodyPr>
            <a:normAutofit/>
          </a:bodyPr>
          <a:lstStyle/>
          <a:p>
            <a:r>
              <a:rPr lang="pt-BR" dirty="0"/>
              <a:t>É um </a:t>
            </a:r>
            <a:r>
              <a:rPr lang="pt-BR" b="1" dirty="0"/>
              <a:t>passeio</a:t>
            </a:r>
            <a:r>
              <a:rPr lang="pt-BR" dirty="0"/>
              <a:t> </a:t>
            </a:r>
            <a:r>
              <a:rPr lang="pt-BR" b="1" dirty="0"/>
              <a:t>sem repetição de arestas, porém</a:t>
            </a:r>
            <a:r>
              <a:rPr lang="pt-BR" dirty="0"/>
              <a:t>, com </a:t>
            </a:r>
            <a:r>
              <a:rPr lang="pt-BR" b="1" dirty="0"/>
              <a:t>possibilidade de repetição de vértices</a:t>
            </a:r>
            <a:r>
              <a:rPr lang="pt-BR" dirty="0"/>
              <a:t>. </a:t>
            </a:r>
          </a:p>
          <a:p>
            <a:r>
              <a:rPr lang="pt-BR" dirty="0"/>
              <a:t>Na Figura, podemos ter o seguinte passeio dado pela sequência de vértices: A-B-C-A-D-B. </a:t>
            </a:r>
          </a:p>
          <a:p>
            <a:r>
              <a:rPr lang="pt-BR" dirty="0"/>
              <a:t>Note que apesar da repetição de A, B e </a:t>
            </a:r>
            <a:r>
              <a:rPr lang="pt-BR" dirty="0" err="1"/>
              <a:t>D</a:t>
            </a:r>
            <a:r>
              <a:rPr lang="pt-BR" dirty="0"/>
              <a:t>, não temos a repetição de arestas, dessa forma este passeio é uma trilha.</a:t>
            </a:r>
          </a:p>
        </p:txBody>
      </p:sp>
      <p:pic>
        <p:nvPicPr>
          <p:cNvPr id="5" name="Imagem 4" descr="Foto preta e branca de relógio ao fundo&#10;&#10;O conteúdo gerado por IA pode estar incorreto.">
            <a:extLst>
              <a:ext uri="{FF2B5EF4-FFF2-40B4-BE49-F238E27FC236}">
                <a16:creationId xmlns:a16="http://schemas.microsoft.com/office/drawing/2014/main" id="{B68D8BE3-861C-DED0-7C08-E449FEF649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1448" y="1902253"/>
            <a:ext cx="4497820" cy="292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0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E56124-92EC-D673-88A5-AC6E93A21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745730-BFD5-075B-4695-487420FA7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/>
              <a:t>Trilha Fechada </a:t>
            </a:r>
            <a:r>
              <a:rPr lang="pt-BR" dirty="0"/>
              <a:t>(</a:t>
            </a:r>
            <a:r>
              <a:rPr lang="pt-BR" dirty="0" err="1"/>
              <a:t>trail</a:t>
            </a:r>
            <a:r>
              <a:rPr lang="pt-BR" dirty="0"/>
              <a:t>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8F667D6-990C-FE7B-F927-72F5C1B0AE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4" y="1986345"/>
            <a:ext cx="7018848" cy="4190617"/>
          </a:xfrm>
        </p:spPr>
        <p:txBody>
          <a:bodyPr>
            <a:normAutofit/>
          </a:bodyPr>
          <a:lstStyle/>
          <a:p>
            <a:r>
              <a:rPr lang="pt-BR" dirty="0"/>
              <a:t>Quando uma trilha tem como </a:t>
            </a:r>
            <a:r>
              <a:rPr lang="pt-BR" b="1" dirty="0"/>
              <a:t>vértice de origem e destino o mesmo vértice </a:t>
            </a:r>
            <a:r>
              <a:rPr lang="pt-BR" dirty="0"/>
              <a:t>então é chamada de </a:t>
            </a:r>
            <a:r>
              <a:rPr lang="pt-BR" b="1" dirty="0"/>
              <a:t>fechada</a:t>
            </a:r>
            <a:r>
              <a:rPr lang="pt-BR" dirty="0"/>
              <a:t>. </a:t>
            </a:r>
          </a:p>
          <a:p>
            <a:r>
              <a:rPr lang="pt-BR" dirty="0"/>
              <a:t>No grafo ao lado vemos um exemplo de trilha fechada: A-B-D-E-C-A, tendo como origem e destino o vértice A.</a:t>
            </a:r>
          </a:p>
        </p:txBody>
      </p:sp>
      <p:pic>
        <p:nvPicPr>
          <p:cNvPr id="6" name="Imagem 5" descr="Foto preta e branca de relógio ao fundo&#10;&#10;O conteúdo gerado por IA pode estar incorreto.">
            <a:extLst>
              <a:ext uri="{FF2B5EF4-FFF2-40B4-BE49-F238E27FC236}">
                <a16:creationId xmlns:a16="http://schemas.microsoft.com/office/drawing/2014/main" id="{48BD8A69-72D9-A182-BF85-EE6DA4A9FA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9083" y="1902253"/>
            <a:ext cx="4172636" cy="2654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84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57</TotalTime>
  <Words>5148</Words>
  <Application>Microsoft Office PowerPoint</Application>
  <PresentationFormat>Widescreen</PresentationFormat>
  <Paragraphs>566</Paragraphs>
  <Slides>66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6</vt:i4>
      </vt:variant>
    </vt:vector>
  </HeadingPairs>
  <TitlesOfParts>
    <vt:vector size="78" baseType="lpstr">
      <vt:lpstr>Alexandria ExtraBold</vt:lpstr>
      <vt:lpstr>Alexandria Medium</vt:lpstr>
      <vt:lpstr>Aptos</vt:lpstr>
      <vt:lpstr>Arial</vt:lpstr>
      <vt:lpstr>Calibri</vt:lpstr>
      <vt:lpstr>Calibri Light</vt:lpstr>
      <vt:lpstr>Nunito Sans ExtraLight</vt:lpstr>
      <vt:lpstr>Nunito Sans SemiBold</vt:lpstr>
      <vt:lpstr>Segoe UI</vt:lpstr>
      <vt:lpstr>-webkit-standard</vt:lpstr>
      <vt:lpstr>Office Theme</vt:lpstr>
      <vt:lpstr>think-cell Slide</vt:lpstr>
      <vt:lpstr>Teoria dos GRAFOS</vt:lpstr>
      <vt:lpstr>Passeio, trilha e caminho em um Grafo</vt:lpstr>
      <vt:lpstr>Passeio (walk)</vt:lpstr>
      <vt:lpstr>Passeio (walk)</vt:lpstr>
      <vt:lpstr>Passeio aberto (open walk):</vt:lpstr>
      <vt:lpstr>Passeio fechado (close walk)</vt:lpstr>
      <vt:lpstr>Comprimento do passeio</vt:lpstr>
      <vt:lpstr>Trilha (trail)</vt:lpstr>
      <vt:lpstr>Trilha Fechada (trail)</vt:lpstr>
      <vt:lpstr>Caminho (path):</vt:lpstr>
      <vt:lpstr>Caminho (path):</vt:lpstr>
      <vt:lpstr>Caminho mínimo</vt:lpstr>
      <vt:lpstr>Caminho mínimo</vt:lpstr>
      <vt:lpstr>Caminho mínimo</vt:lpstr>
      <vt:lpstr>Caminho mínimo</vt:lpstr>
      <vt:lpstr>Atividade - Caminho mínimo</vt:lpstr>
      <vt:lpstr>Atividade - Caminho mínimo</vt:lpstr>
      <vt:lpstr>Ciclo (cycle)</vt:lpstr>
      <vt:lpstr>Ciclo (cycle)</vt:lpstr>
      <vt:lpstr>Atividade 1</vt:lpstr>
      <vt:lpstr>Atividade 1</vt:lpstr>
      <vt:lpstr>Passeios de Euler</vt:lpstr>
      <vt:lpstr>Passeios de Euler</vt:lpstr>
      <vt:lpstr>Ciclo de Euler</vt:lpstr>
      <vt:lpstr>Atividade Passeio e Ciclo de Euler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Atividade – Luz no Cerrado</vt:lpstr>
      <vt:lpstr>Atividade – Luz no Cerrado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O Problema do Carteiro Chinês (PCC)</vt:lpstr>
      <vt:lpstr>Seria um problema?</vt:lpstr>
      <vt:lpstr>Ciclos Hamiltonianos</vt:lpstr>
      <vt:lpstr>Ciclos Hamiltonianos</vt:lpstr>
      <vt:lpstr>Ciclos Hamiltonianos</vt:lpstr>
      <vt:lpstr>O Problema do Caixeiro-Viajante (PCV)</vt:lpstr>
      <vt:lpstr>O Problema do Caixeiro-Viajante (PCV)</vt:lpstr>
      <vt:lpstr>O Problema do Caixeiro-Viajante (PCV)</vt:lpstr>
      <vt:lpstr>Teorema de Dirac</vt:lpstr>
      <vt:lpstr>Teorema de Dirac</vt:lpstr>
      <vt:lpstr>Exemplo 1</vt:lpstr>
      <vt:lpstr>Exemplo 2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Jose Alberto Sousa Torres</cp:lastModifiedBy>
  <cp:revision>76</cp:revision>
  <dcterms:created xsi:type="dcterms:W3CDTF">2020-11-11T06:27:07Z</dcterms:created>
  <dcterms:modified xsi:type="dcterms:W3CDTF">2025-09-19T11:24:44Z</dcterms:modified>
</cp:coreProperties>
</file>